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2.xml" ContentType="application/vnd.openxmlformats-officedocument.presentationml.tags+xml"/>
  <Override PartName="/ppt/notesSlides/notesSlide8.xml" ContentType="application/vnd.openxmlformats-officedocument.presentationml.notesSlide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ppt/tags/tag84.xml" ContentType="application/vnd.openxmlformats-officedocument.presentationml.tags+xml"/>
  <Override PartName="/ppt/notesSlides/notesSlide10.xml" ContentType="application/vnd.openxmlformats-officedocument.presentationml.notesSlide+xml"/>
  <Override PartName="/ppt/tags/tag8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8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17" r:id="rId4"/>
  </p:sldMasterIdLst>
  <p:notesMasterIdLst>
    <p:notesMasterId r:id="rId46"/>
  </p:notesMasterIdLst>
  <p:handoutMasterIdLst>
    <p:handoutMasterId r:id="rId47"/>
  </p:handoutMasterIdLst>
  <p:sldIdLst>
    <p:sldId id="351" r:id="rId5"/>
    <p:sldId id="353" r:id="rId6"/>
    <p:sldId id="354" r:id="rId7"/>
    <p:sldId id="355" r:id="rId8"/>
    <p:sldId id="367" r:id="rId9"/>
    <p:sldId id="352" r:id="rId10"/>
    <p:sldId id="357" r:id="rId11"/>
    <p:sldId id="399" r:id="rId12"/>
    <p:sldId id="404" r:id="rId13"/>
    <p:sldId id="407" r:id="rId14"/>
    <p:sldId id="408" r:id="rId15"/>
    <p:sldId id="403" r:id="rId16"/>
    <p:sldId id="362" r:id="rId17"/>
    <p:sldId id="363" r:id="rId18"/>
    <p:sldId id="393" r:id="rId19"/>
    <p:sldId id="409" r:id="rId20"/>
    <p:sldId id="365" r:id="rId21"/>
    <p:sldId id="366" r:id="rId22"/>
    <p:sldId id="368" r:id="rId23"/>
    <p:sldId id="372" r:id="rId24"/>
    <p:sldId id="373" r:id="rId25"/>
    <p:sldId id="376" r:id="rId26"/>
    <p:sldId id="380" r:id="rId27"/>
    <p:sldId id="381" r:id="rId28"/>
    <p:sldId id="369" r:id="rId29"/>
    <p:sldId id="374" r:id="rId30"/>
    <p:sldId id="396" r:id="rId31"/>
    <p:sldId id="375" r:id="rId32"/>
    <p:sldId id="377" r:id="rId33"/>
    <p:sldId id="378" r:id="rId34"/>
    <p:sldId id="370" r:id="rId35"/>
    <p:sldId id="379" r:id="rId36"/>
    <p:sldId id="382" r:id="rId37"/>
    <p:sldId id="383" r:id="rId38"/>
    <p:sldId id="384" r:id="rId39"/>
    <p:sldId id="385" r:id="rId40"/>
    <p:sldId id="386" r:id="rId41"/>
    <p:sldId id="387" r:id="rId42"/>
    <p:sldId id="388" r:id="rId43"/>
    <p:sldId id="389" r:id="rId44"/>
    <p:sldId id="391" r:id="rId45"/>
  </p:sldIdLst>
  <p:sldSz cx="9144000" cy="5143500" type="screen16x9"/>
  <p:notesSz cx="7315200" cy="9601200"/>
  <p:custDataLst>
    <p:tags r:id="rId4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1" userDrawn="1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 userDrawn="1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odorescu, Andrei" initials="TA" lastIdx="1" clrIdx="0">
    <p:extLst>
      <p:ext uri="{19B8F6BF-5375-455C-9EA6-DF929625EA0E}">
        <p15:presenceInfo xmlns:p15="http://schemas.microsoft.com/office/powerpoint/2012/main" userId="S-1-5-21-1710691794-657421245-3729435916-1831699" providerId="AD"/>
      </p:ext>
    </p:extLst>
  </p:cmAuthor>
  <p:cmAuthor id="2" name="Paiu, Dumitru-Ciprian (uidw7655)" initials="PD(" lastIdx="1" clrIdx="1">
    <p:extLst>
      <p:ext uri="{19B8F6BF-5375-455C-9EA6-DF929625EA0E}">
        <p15:presenceInfo xmlns:p15="http://schemas.microsoft.com/office/powerpoint/2012/main" userId="S::uidw7655@contiwan.com::5262dfa8-8c84-4871-b8f2-5addb51b0a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3" autoAdjust="0"/>
    <p:restoredTop sz="94660"/>
  </p:normalViewPr>
  <p:slideViewPr>
    <p:cSldViewPr snapToObjects="1" showGuides="1">
      <p:cViewPr varScale="1">
        <p:scale>
          <a:sx n="123" d="100"/>
          <a:sy n="123" d="100"/>
        </p:scale>
        <p:origin x="288" y="96"/>
      </p:cViewPr>
      <p:guideLst>
        <p:guide orient="horz" pos="531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 showGuides="1">
      <p:cViewPr varScale="1">
        <p:scale>
          <a:sx n="78" d="100"/>
          <a:sy n="78" d="100"/>
        </p:scale>
        <p:origin x="4062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iu, Dumitru-Ciprian (uidw7655)" userId="S::uidw7655@contiwan.com::5262dfa8-8c84-4871-b8f2-5addb51b0a11" providerId="AD" clId="Web-{433D1B42-A5FB-B01B-6353-5FF8DACBD9FB}"/>
    <pc:docChg chg="addSld delSld modSld">
      <pc:chgData name="Paiu, Dumitru-Ciprian (uidw7655)" userId="S::uidw7655@contiwan.com::5262dfa8-8c84-4871-b8f2-5addb51b0a11" providerId="AD" clId="Web-{433D1B42-A5FB-B01B-6353-5FF8DACBD9FB}" dt="2022-03-14T11:53:22.730" v="12"/>
      <pc:docMkLst>
        <pc:docMk/>
      </pc:docMkLst>
      <pc:sldChg chg="add del">
        <pc:chgData name="Paiu, Dumitru-Ciprian (uidw7655)" userId="S::uidw7655@contiwan.com::5262dfa8-8c84-4871-b8f2-5addb51b0a11" providerId="AD" clId="Web-{433D1B42-A5FB-B01B-6353-5FF8DACBD9FB}" dt="2022-03-14T11:53:22.730" v="12"/>
        <pc:sldMkLst>
          <pc:docMk/>
          <pc:sldMk cId="3183375760" sldId="400"/>
        </pc:sldMkLst>
      </pc:sldChg>
      <pc:sldChg chg="addSp delSp">
        <pc:chgData name="Paiu, Dumitru-Ciprian (uidw7655)" userId="S::uidw7655@contiwan.com::5262dfa8-8c84-4871-b8f2-5addb51b0a11" providerId="AD" clId="Web-{433D1B42-A5FB-B01B-6353-5FF8DACBD9FB}" dt="2022-03-14T11:53:13.948" v="10"/>
        <pc:sldMkLst>
          <pc:docMk/>
          <pc:sldMk cId="2056359749" sldId="407"/>
        </pc:sldMkLst>
        <pc:spChg chg="add del">
          <ac:chgData name="Paiu, Dumitru-Ciprian (uidw7655)" userId="S::uidw7655@contiwan.com::5262dfa8-8c84-4871-b8f2-5addb51b0a11" providerId="AD" clId="Web-{433D1B42-A5FB-B01B-6353-5FF8DACBD9FB}" dt="2022-03-14T11:53:13.948" v="10"/>
          <ac:spMkLst>
            <pc:docMk/>
            <pc:sldMk cId="2056359749" sldId="407"/>
            <ac:spMk id="4" creationId="{F722AC52-7BBD-435C-A992-613163386CBD}"/>
          </ac:spMkLst>
        </pc:spChg>
        <pc:spChg chg="add del">
          <ac:chgData name="Paiu, Dumitru-Ciprian (uidw7655)" userId="S::uidw7655@contiwan.com::5262dfa8-8c84-4871-b8f2-5addb51b0a11" providerId="AD" clId="Web-{433D1B42-A5FB-B01B-6353-5FF8DACBD9FB}" dt="2022-03-14T11:53:11.354" v="9"/>
          <ac:spMkLst>
            <pc:docMk/>
            <pc:sldMk cId="2056359749" sldId="407"/>
            <ac:spMk id="5" creationId="{0E764AFA-F1BE-49A5-8ACC-5D4E84B44242}"/>
          </ac:spMkLst>
        </pc:spChg>
        <pc:spChg chg="add del">
          <ac:chgData name="Paiu, Dumitru-Ciprian (uidw7655)" userId="S::uidw7655@contiwan.com::5262dfa8-8c84-4871-b8f2-5addb51b0a11" providerId="AD" clId="Web-{433D1B42-A5FB-B01B-6353-5FF8DACBD9FB}" dt="2022-03-14T11:53:10.573" v="8"/>
          <ac:spMkLst>
            <pc:docMk/>
            <pc:sldMk cId="2056359749" sldId="407"/>
            <ac:spMk id="6" creationId="{D562695D-052D-419C-A094-42285F4FAF65}"/>
          </ac:spMkLst>
        </pc:spChg>
        <pc:spChg chg="add del">
          <ac:chgData name="Paiu, Dumitru-Ciprian (uidw7655)" userId="S::uidw7655@contiwan.com::5262dfa8-8c84-4871-b8f2-5addb51b0a11" providerId="AD" clId="Web-{433D1B42-A5FB-B01B-6353-5FF8DACBD9FB}" dt="2022-03-14T11:53:08.448" v="7"/>
          <ac:spMkLst>
            <pc:docMk/>
            <pc:sldMk cId="2056359749" sldId="407"/>
            <ac:spMk id="10" creationId="{105651B7-9641-44F0-AA5A-8F73826A65E4}"/>
          </ac:spMkLst>
        </pc:spChg>
      </pc:sldChg>
    </pc:docChg>
  </pc:docChgLst>
  <pc:docChgLst>
    <pc:chgData name="Paiu, Dumitru-Ciprian (uidw7655)" userId="S::uidw7655@contiwan.com::5262dfa8-8c84-4871-b8f2-5addb51b0a11" providerId="AD" clId="Web-{86FBD9DD-D651-2E48-657D-B568CA2E868E}"/>
    <pc:docChg chg="addSld delSld modSld addMainMaster delMainMaster">
      <pc:chgData name="Paiu, Dumitru-Ciprian (uidw7655)" userId="S::uidw7655@contiwan.com::5262dfa8-8c84-4871-b8f2-5addb51b0a11" providerId="AD" clId="Web-{86FBD9DD-D651-2E48-657D-B568CA2E868E}" dt="2022-03-14T11:49:17.607" v="11" actId="1076"/>
      <pc:docMkLst>
        <pc:docMk/>
      </pc:docMkLst>
      <pc:sldChg chg="addSp modSp">
        <pc:chgData name="Paiu, Dumitru-Ciprian (uidw7655)" userId="S::uidw7655@contiwan.com::5262dfa8-8c84-4871-b8f2-5addb51b0a11" providerId="AD" clId="Web-{86FBD9DD-D651-2E48-657D-B568CA2E868E}" dt="2022-03-14T11:49:17.607" v="11" actId="1076"/>
        <pc:sldMkLst>
          <pc:docMk/>
          <pc:sldMk cId="476902243" sldId="392"/>
        </pc:sldMkLst>
        <pc:spChg chg="add mod">
          <ac:chgData name="Paiu, Dumitru-Ciprian (uidw7655)" userId="S::uidw7655@contiwan.com::5262dfa8-8c84-4871-b8f2-5addb51b0a11" providerId="AD" clId="Web-{86FBD9DD-D651-2E48-657D-B568CA2E868E}" dt="2022-03-14T11:48:25.793" v="6" actId="20577"/>
          <ac:spMkLst>
            <pc:docMk/>
            <pc:sldMk cId="476902243" sldId="392"/>
            <ac:spMk id="8" creationId="{F2AF7177-7551-4541-8B98-C69AEEB5B4C3}"/>
          </ac:spMkLst>
        </pc:spChg>
        <pc:picChg chg="mod">
          <ac:chgData name="Paiu, Dumitru-Ciprian (uidw7655)" userId="S::uidw7655@contiwan.com::5262dfa8-8c84-4871-b8f2-5addb51b0a11" providerId="AD" clId="Web-{86FBD9DD-D651-2E48-657D-B568CA2E868E}" dt="2022-03-14T11:49:17.607" v="11" actId="1076"/>
          <ac:picMkLst>
            <pc:docMk/>
            <pc:sldMk cId="476902243" sldId="392"/>
            <ac:picMk id="5" creationId="{441E8886-D019-4156-8E49-63731FE83341}"/>
          </ac:picMkLst>
        </pc:picChg>
        <pc:picChg chg="mod">
          <ac:chgData name="Paiu, Dumitru-Ciprian (uidw7655)" userId="S::uidw7655@contiwan.com::5262dfa8-8c84-4871-b8f2-5addb51b0a11" providerId="AD" clId="Web-{86FBD9DD-D651-2E48-657D-B568CA2E868E}" dt="2022-03-14T11:48:35.997" v="9" actId="14100"/>
          <ac:picMkLst>
            <pc:docMk/>
            <pc:sldMk cId="476902243" sldId="392"/>
            <ac:picMk id="6" creationId="{85597967-8FB4-41FA-B44F-24056358E3B1}"/>
          </ac:picMkLst>
        </pc:picChg>
      </pc:sldChg>
      <pc:sldChg chg="add del">
        <pc:chgData name="Paiu, Dumitru-Ciprian (uidw7655)" userId="S::uidw7655@contiwan.com::5262dfa8-8c84-4871-b8f2-5addb51b0a11" providerId="AD" clId="Web-{86FBD9DD-D651-2E48-657D-B568CA2E868E}" dt="2022-03-14T11:47:47.043" v="1"/>
        <pc:sldMkLst>
          <pc:docMk/>
          <pc:sldMk cId="3670465626" sldId="410"/>
        </pc:sldMkLst>
      </pc:sldChg>
      <pc:sldMasterChg chg="add del addSldLayout delSldLayout">
        <pc:chgData name="Paiu, Dumitru-Ciprian (uidw7655)" userId="S::uidw7655@contiwan.com::5262dfa8-8c84-4871-b8f2-5addb51b0a11" providerId="AD" clId="Web-{86FBD9DD-D651-2E48-657D-B568CA2E868E}" dt="2022-03-14T11:47:47.043" v="1"/>
        <pc:sldMasterMkLst>
          <pc:docMk/>
          <pc:sldMasterMk cId="1503324581" sldId="2147483679"/>
        </pc:sldMasterMkLst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568686673" sldId="2147483680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690411555" sldId="2147483681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984246119" sldId="2147483682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2416233039" sldId="2147483683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339699050" sldId="2147483684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658482726" sldId="2147483685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550748152" sldId="2147483686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901429707" sldId="2147483687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3271441489" sldId="2147483688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989185995" sldId="2147483689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3955596411" sldId="2147483690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2186970345" sldId="2147483691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158033149" sldId="2147483692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304268805" sldId="2147483693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846894182" sldId="2147483694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623220795" sldId="2147483695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363203534" sldId="2147483696"/>
          </pc:sldLayoutMkLst>
        </pc:sldLayoutChg>
        <pc:sldLayoutChg chg="add del">
          <pc:chgData name="Paiu, Dumitru-Ciprian (uidw7655)" userId="S::uidw7655@contiwan.com::5262dfa8-8c84-4871-b8f2-5addb51b0a11" providerId="AD" clId="Web-{86FBD9DD-D651-2E48-657D-B568CA2E868E}" dt="2022-03-14T11:47:47.043" v="1"/>
          <pc:sldLayoutMkLst>
            <pc:docMk/>
            <pc:sldMasterMk cId="1503324581" sldId="2147483679"/>
            <pc:sldLayoutMk cId="1181258705" sldId="2147483697"/>
          </pc:sldLayoutMkLst>
        </pc:sldLayoutChg>
      </pc:sldMasterChg>
    </pc:docChg>
  </pc:docChgLst>
  <pc:docChgLst>
    <pc:chgData name="Paiu, Dumitru-Ciprian (uidw7655)" userId="S::uidw7655@contiwan.com::5262dfa8-8c84-4871-b8f2-5addb51b0a11" providerId="AD" clId="Web-{F8193DA1-DCB0-00EF-0090-8FFA0073A6D9}"/>
    <pc:docChg chg="modSld">
      <pc:chgData name="Paiu, Dumitru-Ciprian (uidw7655)" userId="S::uidw7655@contiwan.com::5262dfa8-8c84-4871-b8f2-5addb51b0a11" providerId="AD" clId="Web-{F8193DA1-DCB0-00EF-0090-8FFA0073A6D9}" dt="2022-03-14T11:41:48.305" v="12" actId="1076"/>
      <pc:docMkLst>
        <pc:docMk/>
      </pc:docMkLst>
      <pc:sldChg chg="addSp delSp modSp">
        <pc:chgData name="Paiu, Dumitru-Ciprian (uidw7655)" userId="S::uidw7655@contiwan.com::5262dfa8-8c84-4871-b8f2-5addb51b0a11" providerId="AD" clId="Web-{F8193DA1-DCB0-00EF-0090-8FFA0073A6D9}" dt="2022-03-14T11:41:48.305" v="12" actId="1076"/>
        <pc:sldMkLst>
          <pc:docMk/>
          <pc:sldMk cId="476902243" sldId="392"/>
        </pc:sldMkLst>
        <pc:spChg chg="del mod">
          <ac:chgData name="Paiu, Dumitru-Ciprian (uidw7655)" userId="S::uidw7655@contiwan.com::5262dfa8-8c84-4871-b8f2-5addb51b0a11" providerId="AD" clId="Web-{F8193DA1-DCB0-00EF-0090-8FFA0073A6D9}" dt="2022-03-14T11:40:29.722" v="2"/>
          <ac:spMkLst>
            <pc:docMk/>
            <pc:sldMk cId="476902243" sldId="392"/>
            <ac:spMk id="2" creationId="{E6742C5C-DE33-4D0B-B541-77CF18F132FB}"/>
          </ac:spMkLst>
        </pc:spChg>
        <pc:spChg chg="mod">
          <ac:chgData name="Paiu, Dumitru-Ciprian (uidw7655)" userId="S::uidw7655@contiwan.com::5262dfa8-8c84-4871-b8f2-5addb51b0a11" providerId="AD" clId="Web-{F8193DA1-DCB0-00EF-0090-8FFA0073A6D9}" dt="2022-03-14T11:40:14.018" v="0" actId="20577"/>
          <ac:spMkLst>
            <pc:docMk/>
            <pc:sldMk cId="476902243" sldId="392"/>
            <ac:spMk id="3" creationId="{9687E586-138E-49F7-B7A8-960DFE7A79C6}"/>
          </ac:spMkLst>
        </pc:spChg>
        <pc:picChg chg="add del mod">
          <ac:chgData name="Paiu, Dumitru-Ciprian (uidw7655)" userId="S::uidw7655@contiwan.com::5262dfa8-8c84-4871-b8f2-5addb51b0a11" providerId="AD" clId="Web-{F8193DA1-DCB0-00EF-0090-8FFA0073A6D9}" dt="2022-03-14T11:40:59.412" v="6"/>
          <ac:picMkLst>
            <pc:docMk/>
            <pc:sldMk cId="476902243" sldId="392"/>
            <ac:picMk id="4" creationId="{72D35EF4-F3D5-4E93-88B3-843B1B33CD91}"/>
          </ac:picMkLst>
        </pc:picChg>
        <pc:picChg chg="add mod">
          <ac:chgData name="Paiu, Dumitru-Ciprian (uidw7655)" userId="S::uidw7655@contiwan.com::5262dfa8-8c84-4871-b8f2-5addb51b0a11" providerId="AD" clId="Web-{F8193DA1-DCB0-00EF-0090-8FFA0073A6D9}" dt="2022-03-14T11:41:38.054" v="10" actId="1076"/>
          <ac:picMkLst>
            <pc:docMk/>
            <pc:sldMk cId="476902243" sldId="392"/>
            <ac:picMk id="5" creationId="{441E8886-D019-4156-8E49-63731FE83341}"/>
          </ac:picMkLst>
        </pc:picChg>
        <pc:picChg chg="add mod">
          <ac:chgData name="Paiu, Dumitru-Ciprian (uidw7655)" userId="S::uidw7655@contiwan.com::5262dfa8-8c84-4871-b8f2-5addb51b0a11" providerId="AD" clId="Web-{F8193DA1-DCB0-00EF-0090-8FFA0073A6D9}" dt="2022-03-14T11:41:48.305" v="12" actId="1076"/>
          <ac:picMkLst>
            <pc:docMk/>
            <pc:sldMk cId="476902243" sldId="392"/>
            <ac:picMk id="6" creationId="{85597967-8FB4-41FA-B44F-24056358E3B1}"/>
          </ac:picMkLst>
        </pc:picChg>
      </pc:sldChg>
    </pc:docChg>
  </pc:docChgLst>
  <pc:docChgLst>
    <pc:chgData name="Baciu Lupascu, Raluca" userId="68b8499e-70c7-46a5-a7f5-08d4a146f234" providerId="ADAL" clId="{B980BCCA-AD90-4258-90CE-FED47B9C869B}"/>
    <pc:docChg chg="custSel modSld">
      <pc:chgData name="Baciu Lupascu, Raluca" userId="68b8499e-70c7-46a5-a7f5-08d4a146f234" providerId="ADAL" clId="{B980BCCA-AD90-4258-90CE-FED47B9C869B}" dt="2022-03-14T12:29:24.271" v="1" actId="478"/>
      <pc:docMkLst>
        <pc:docMk/>
      </pc:docMkLst>
      <pc:sldChg chg="addSp delSp modSp mod modClrScheme chgLayout">
        <pc:chgData name="Baciu Lupascu, Raluca" userId="68b8499e-70c7-46a5-a7f5-08d4a146f234" providerId="ADAL" clId="{B980BCCA-AD90-4258-90CE-FED47B9C869B}" dt="2022-03-14T12:29:24.271" v="1" actId="478"/>
        <pc:sldMkLst>
          <pc:docMk/>
          <pc:sldMk cId="4122854971" sldId="408"/>
        </pc:sldMkLst>
        <pc:spChg chg="mod ord">
          <ac:chgData name="Baciu Lupascu, Raluca" userId="68b8499e-70c7-46a5-a7f5-08d4a146f234" providerId="ADAL" clId="{B980BCCA-AD90-4258-90CE-FED47B9C869B}" dt="2022-03-14T12:29:18.420" v="0" actId="700"/>
          <ac:spMkLst>
            <pc:docMk/>
            <pc:sldMk cId="4122854971" sldId="408"/>
            <ac:spMk id="2" creationId="{A6600319-DADD-4179-986B-4B79AF34F847}"/>
          </ac:spMkLst>
        </pc:spChg>
        <pc:spChg chg="add del mod ord">
          <ac:chgData name="Baciu Lupascu, Raluca" userId="68b8499e-70c7-46a5-a7f5-08d4a146f234" providerId="ADAL" clId="{B980BCCA-AD90-4258-90CE-FED47B9C869B}" dt="2022-03-14T12:29:24.271" v="1" actId="478"/>
          <ac:spMkLst>
            <pc:docMk/>
            <pc:sldMk cId="4122854971" sldId="408"/>
            <ac:spMk id="3" creationId="{50A83275-5055-4551-B508-BB0DD4F1473F}"/>
          </ac:spMkLst>
        </pc:spChg>
        <pc:spChg chg="mod ord">
          <ac:chgData name="Baciu Lupascu, Raluca" userId="68b8499e-70c7-46a5-a7f5-08d4a146f234" providerId="ADAL" clId="{B980BCCA-AD90-4258-90CE-FED47B9C869B}" dt="2022-03-14T12:29:18.420" v="0" actId="700"/>
          <ac:spMkLst>
            <pc:docMk/>
            <pc:sldMk cId="4122854971" sldId="408"/>
            <ac:spMk id="14" creationId="{41FC2C36-C3D0-459B-82AC-5F742B1D2FC2}"/>
          </ac:spMkLst>
        </pc:spChg>
        <pc:spChg chg="mod ord">
          <ac:chgData name="Baciu Lupascu, Raluca" userId="68b8499e-70c7-46a5-a7f5-08d4a146f234" providerId="ADAL" clId="{B980BCCA-AD90-4258-90CE-FED47B9C869B}" dt="2022-03-14T12:29:18.420" v="0" actId="700"/>
          <ac:spMkLst>
            <pc:docMk/>
            <pc:sldMk cId="4122854971" sldId="408"/>
            <ac:spMk id="15" creationId="{1933F85F-5293-4F5E-985F-0875601CF13E}"/>
          </ac:spMkLst>
        </pc:spChg>
        <pc:spChg chg="mod ord">
          <ac:chgData name="Baciu Lupascu, Raluca" userId="68b8499e-70c7-46a5-a7f5-08d4a146f234" providerId="ADAL" clId="{B980BCCA-AD90-4258-90CE-FED47B9C869B}" dt="2022-03-14T12:29:18.420" v="0" actId="700"/>
          <ac:spMkLst>
            <pc:docMk/>
            <pc:sldMk cId="4122854971" sldId="408"/>
            <ac:spMk id="16" creationId="{CBE561B9-4DCE-4765-9C4D-D98D23573CAE}"/>
          </ac:spMkLst>
        </pc:spChg>
      </pc:sldChg>
    </pc:docChg>
  </pc:docChgLst>
  <pc:docChgLst>
    <pc:chgData name="Baciu Lupascu, Raluca" userId="S::uidu4027@contiwan.com::68b8499e-70c7-46a5-a7f5-08d4a146f234" providerId="AD" clId="Web-{0EDE38E7-47F2-52E6-4450-9E0C78E5CB13}"/>
    <pc:docChg chg="modSld">
      <pc:chgData name="Baciu Lupascu, Raluca" userId="S::uidu4027@contiwan.com::68b8499e-70c7-46a5-a7f5-08d4a146f234" providerId="AD" clId="Web-{0EDE38E7-47F2-52E6-4450-9E0C78E5CB13}" dt="2022-03-09T15:00:28.571" v="65" actId="20577"/>
      <pc:docMkLst>
        <pc:docMk/>
      </pc:docMkLst>
      <pc:sldChg chg="modSp">
        <pc:chgData name="Baciu Lupascu, Raluca" userId="S::uidu4027@contiwan.com::68b8499e-70c7-46a5-a7f5-08d4a146f234" providerId="AD" clId="Web-{0EDE38E7-47F2-52E6-4450-9E0C78E5CB13}" dt="2022-03-09T14:55:01.160" v="4"/>
        <pc:sldMkLst>
          <pc:docMk/>
          <pc:sldMk cId="66556628" sldId="352"/>
        </pc:sldMkLst>
        <pc:spChg chg="mod">
          <ac:chgData name="Baciu Lupascu, Raluca" userId="S::uidu4027@contiwan.com::68b8499e-70c7-46a5-a7f5-08d4a146f234" providerId="AD" clId="Web-{0EDE38E7-47F2-52E6-4450-9E0C78E5CB13}" dt="2022-03-09T14:55:01.160" v="4"/>
          <ac:spMkLst>
            <pc:docMk/>
            <pc:sldMk cId="66556628" sldId="352"/>
            <ac:spMk id="2" creationId="{B68EB683-4C4A-436B-BB43-828DD13EC411}"/>
          </ac:spMkLst>
        </pc:spChg>
        <pc:spChg chg="mod">
          <ac:chgData name="Baciu Lupascu, Raluca" userId="S::uidu4027@contiwan.com::68b8499e-70c7-46a5-a7f5-08d4a146f234" providerId="AD" clId="Web-{0EDE38E7-47F2-52E6-4450-9E0C78E5CB13}" dt="2022-03-09T14:54:55.050" v="2" actId="14100"/>
          <ac:spMkLst>
            <pc:docMk/>
            <pc:sldMk cId="66556628" sldId="352"/>
            <ac:spMk id="3" creationId="{58050ED1-F08F-4FAA-A963-B89417C2C6CC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4:38.346" v="0"/>
        <pc:sldMkLst>
          <pc:docMk/>
          <pc:sldMk cId="1257319759" sldId="353"/>
        </pc:sldMkLst>
        <pc:spChg chg="mod">
          <ac:chgData name="Baciu Lupascu, Raluca" userId="S::uidu4027@contiwan.com::68b8499e-70c7-46a5-a7f5-08d4a146f234" providerId="AD" clId="Web-{0EDE38E7-47F2-52E6-4450-9E0C78E5CB13}" dt="2022-03-09T14:54:38.346" v="0"/>
          <ac:spMkLst>
            <pc:docMk/>
            <pc:sldMk cId="1257319759" sldId="353"/>
            <ac:spMk id="2" creationId="{092B23DF-6777-4C49-9A70-8915EE3E6275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5:18.301" v="6"/>
        <pc:sldMkLst>
          <pc:docMk/>
          <pc:sldMk cId="468962734" sldId="357"/>
        </pc:sldMkLst>
        <pc:spChg chg="mod">
          <ac:chgData name="Baciu Lupascu, Raluca" userId="S::uidu4027@contiwan.com::68b8499e-70c7-46a5-a7f5-08d4a146f234" providerId="AD" clId="Web-{0EDE38E7-47F2-52E6-4450-9E0C78E5CB13}" dt="2022-03-09T14:55:18.301" v="6"/>
          <ac:spMkLst>
            <pc:docMk/>
            <pc:sldMk cId="468962734" sldId="357"/>
            <ac:spMk id="2" creationId="{9F376112-8C99-446B-A71E-6C1B89DBA111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7:04.089" v="25"/>
        <pc:sldMkLst>
          <pc:docMk/>
          <pc:sldMk cId="265154065" sldId="365"/>
        </pc:sldMkLst>
        <pc:spChg chg="mod">
          <ac:chgData name="Baciu Lupascu, Raluca" userId="S::uidu4027@contiwan.com::68b8499e-70c7-46a5-a7f5-08d4a146f234" providerId="AD" clId="Web-{0EDE38E7-47F2-52E6-4450-9E0C78E5CB13}" dt="2022-03-09T14:57:04.089" v="25"/>
          <ac:spMkLst>
            <pc:docMk/>
            <pc:sldMk cId="265154065" sldId="365"/>
            <ac:spMk id="21" creationId="{35167861-AACB-4FD0-87E8-89AD5FC4634E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7:17.871" v="28" actId="1076"/>
        <pc:sldMkLst>
          <pc:docMk/>
          <pc:sldMk cId="261428480" sldId="366"/>
        </pc:sldMkLst>
        <pc:spChg chg="mod">
          <ac:chgData name="Baciu Lupascu, Raluca" userId="S::uidu4027@contiwan.com::68b8499e-70c7-46a5-a7f5-08d4a146f234" providerId="AD" clId="Web-{0EDE38E7-47F2-52E6-4450-9E0C78E5CB13}" dt="2022-03-09T14:57:17.871" v="28" actId="1076"/>
          <ac:spMkLst>
            <pc:docMk/>
            <pc:sldMk cId="261428480" sldId="366"/>
            <ac:spMk id="8" creationId="{F0F8A940-3A00-4EA9-A96D-1F3989A321A9}"/>
          </ac:spMkLst>
        </pc:spChg>
        <pc:picChg chg="mod">
          <ac:chgData name="Baciu Lupascu, Raluca" userId="S::uidu4027@contiwan.com::68b8499e-70c7-46a5-a7f5-08d4a146f234" providerId="AD" clId="Web-{0EDE38E7-47F2-52E6-4450-9E0C78E5CB13}" dt="2022-03-09T14:57:14.230" v="27" actId="1076"/>
          <ac:picMkLst>
            <pc:docMk/>
            <pc:sldMk cId="261428480" sldId="366"/>
            <ac:picMk id="7" creationId="{2B53F10F-F10B-48E6-BF5E-B84032A93A8E}"/>
          </ac:picMkLst>
        </pc:picChg>
      </pc:sldChg>
      <pc:sldChg chg="modSp">
        <pc:chgData name="Baciu Lupascu, Raluca" userId="S::uidu4027@contiwan.com::68b8499e-70c7-46a5-a7f5-08d4a146f234" providerId="AD" clId="Web-{0EDE38E7-47F2-52E6-4450-9E0C78E5CB13}" dt="2022-03-09T14:54:46.549" v="1"/>
        <pc:sldMkLst>
          <pc:docMk/>
          <pc:sldMk cId="2161531663" sldId="367"/>
        </pc:sldMkLst>
        <pc:spChg chg="mod">
          <ac:chgData name="Baciu Lupascu, Raluca" userId="S::uidu4027@contiwan.com::68b8499e-70c7-46a5-a7f5-08d4a146f234" providerId="AD" clId="Web-{0EDE38E7-47F2-52E6-4450-9E0C78E5CB13}" dt="2022-03-09T14:54:46.549" v="1"/>
          <ac:spMkLst>
            <pc:docMk/>
            <pc:sldMk cId="2161531663" sldId="367"/>
            <ac:spMk id="2" creationId="{B866411F-C0F7-44B3-A49E-D5FCF61B4683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7:25.075" v="30"/>
        <pc:sldMkLst>
          <pc:docMk/>
          <pc:sldMk cId="4009311236" sldId="368"/>
        </pc:sldMkLst>
        <pc:spChg chg="mod">
          <ac:chgData name="Baciu Lupascu, Raluca" userId="S::uidu4027@contiwan.com::68b8499e-70c7-46a5-a7f5-08d4a146f234" providerId="AD" clId="Web-{0EDE38E7-47F2-52E6-4450-9E0C78E5CB13}" dt="2022-03-09T14:57:25.075" v="30"/>
          <ac:spMkLst>
            <pc:docMk/>
            <pc:sldMk cId="4009311236" sldId="368"/>
            <ac:spMk id="20" creationId="{EE05CA35-6A52-4FDC-8382-1E6E267900F5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7:53.186" v="35"/>
        <pc:sldMkLst>
          <pc:docMk/>
          <pc:sldMk cId="3862561832" sldId="369"/>
        </pc:sldMkLst>
        <pc:spChg chg="mod">
          <ac:chgData name="Baciu Lupascu, Raluca" userId="S::uidu4027@contiwan.com::68b8499e-70c7-46a5-a7f5-08d4a146f234" providerId="AD" clId="Web-{0EDE38E7-47F2-52E6-4450-9E0C78E5CB13}" dt="2022-03-09T14:57:53.186" v="35"/>
          <ac:spMkLst>
            <pc:docMk/>
            <pc:sldMk cId="3862561832" sldId="369"/>
            <ac:spMk id="18" creationId="{F4A85DD7-4949-49E5-A865-4D09940D5BDF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8:12.453" v="39"/>
        <pc:sldMkLst>
          <pc:docMk/>
          <pc:sldMk cId="3270435337" sldId="370"/>
        </pc:sldMkLst>
        <pc:spChg chg="mod">
          <ac:chgData name="Baciu Lupascu, Raluca" userId="S::uidu4027@contiwan.com::68b8499e-70c7-46a5-a7f5-08d4a146f234" providerId="AD" clId="Web-{0EDE38E7-47F2-52E6-4450-9E0C78E5CB13}" dt="2022-03-09T14:58:12.453" v="39"/>
          <ac:spMkLst>
            <pc:docMk/>
            <pc:sldMk cId="3270435337" sldId="370"/>
            <ac:spMk id="20" creationId="{41810DDC-FEAE-458B-8C44-9FD12B896210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7:37.404" v="33" actId="1076"/>
        <pc:sldMkLst>
          <pc:docMk/>
          <pc:sldMk cId="2438584537" sldId="372"/>
        </pc:sldMkLst>
        <pc:spChg chg="mod">
          <ac:chgData name="Baciu Lupascu, Raluca" userId="S::uidu4027@contiwan.com::68b8499e-70c7-46a5-a7f5-08d4a146f234" providerId="AD" clId="Web-{0EDE38E7-47F2-52E6-4450-9E0C78E5CB13}" dt="2022-03-09T14:57:32.200" v="31" actId="1076"/>
          <ac:spMkLst>
            <pc:docMk/>
            <pc:sldMk cId="2438584537" sldId="372"/>
            <ac:spMk id="2" creationId="{372EF8C9-0A4B-479F-9E4F-01673F7E9FBA}"/>
          </ac:spMkLst>
        </pc:spChg>
        <pc:picChg chg="mod">
          <ac:chgData name="Baciu Lupascu, Raluca" userId="S::uidu4027@contiwan.com::68b8499e-70c7-46a5-a7f5-08d4a146f234" providerId="AD" clId="Web-{0EDE38E7-47F2-52E6-4450-9E0C78E5CB13}" dt="2022-03-09T14:57:37.404" v="33" actId="1076"/>
          <ac:picMkLst>
            <pc:docMk/>
            <pc:sldMk cId="2438584537" sldId="372"/>
            <ac:picMk id="7" creationId="{8558CA7B-1D74-4DEB-977C-6B9564C53F20}"/>
          </ac:picMkLst>
        </pc:picChg>
      </pc:sldChg>
      <pc:sldChg chg="modSp">
        <pc:chgData name="Baciu Lupascu, Raluca" userId="S::uidu4027@contiwan.com::68b8499e-70c7-46a5-a7f5-08d4a146f234" providerId="AD" clId="Web-{0EDE38E7-47F2-52E6-4450-9E0C78E5CB13}" dt="2022-03-09T14:58:33.282" v="43"/>
        <pc:sldMkLst>
          <pc:docMk/>
          <pc:sldMk cId="2362448012" sldId="378"/>
        </pc:sldMkLst>
        <pc:spChg chg="mod">
          <ac:chgData name="Baciu Lupascu, Raluca" userId="S::uidu4027@contiwan.com::68b8499e-70c7-46a5-a7f5-08d4a146f234" providerId="AD" clId="Web-{0EDE38E7-47F2-52E6-4450-9E0C78E5CB13}" dt="2022-03-09T14:58:33.282" v="43"/>
          <ac:spMkLst>
            <pc:docMk/>
            <pc:sldMk cId="2362448012" sldId="378"/>
            <ac:spMk id="22" creationId="{6537559C-FB41-48E5-88E6-75AA3B6E82D2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8:21.219" v="42"/>
        <pc:sldMkLst>
          <pc:docMk/>
          <pc:sldMk cId="1775848385" sldId="379"/>
        </pc:sldMkLst>
        <pc:spChg chg="mod">
          <ac:chgData name="Baciu Lupascu, Raluca" userId="S::uidu4027@contiwan.com::68b8499e-70c7-46a5-a7f5-08d4a146f234" providerId="AD" clId="Web-{0EDE38E7-47F2-52E6-4450-9E0C78E5CB13}" dt="2022-03-09T14:58:21.219" v="42"/>
          <ac:spMkLst>
            <pc:docMk/>
            <pc:sldMk cId="1775848385" sldId="379"/>
            <ac:spMk id="20" creationId="{7548A64B-68B0-496E-BB68-20A3057EFB5B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8:54.268" v="47" actId="1076"/>
        <pc:sldMkLst>
          <pc:docMk/>
          <pc:sldMk cId="1637586583" sldId="382"/>
        </pc:sldMkLst>
        <pc:spChg chg="mod">
          <ac:chgData name="Baciu Lupascu, Raluca" userId="S::uidu4027@contiwan.com::68b8499e-70c7-46a5-a7f5-08d4a146f234" providerId="AD" clId="Web-{0EDE38E7-47F2-52E6-4450-9E0C78E5CB13}" dt="2022-03-09T14:58:43.861" v="45"/>
          <ac:spMkLst>
            <pc:docMk/>
            <pc:sldMk cId="1637586583" sldId="382"/>
            <ac:spMk id="19" creationId="{ADE5101E-9B62-4FA4-9602-9AC954AA7552}"/>
          </ac:spMkLst>
        </pc:spChg>
        <pc:picChg chg="mod">
          <ac:chgData name="Baciu Lupascu, Raluca" userId="S::uidu4027@contiwan.com::68b8499e-70c7-46a5-a7f5-08d4a146f234" providerId="AD" clId="Web-{0EDE38E7-47F2-52E6-4450-9E0C78E5CB13}" dt="2022-03-09T14:58:54.268" v="47" actId="1076"/>
          <ac:picMkLst>
            <pc:docMk/>
            <pc:sldMk cId="1637586583" sldId="382"/>
            <ac:picMk id="7" creationId="{34A6D2FC-6E5D-4466-8056-0A858A2FF9AA}"/>
          </ac:picMkLst>
        </pc:picChg>
      </pc:sldChg>
      <pc:sldChg chg="modSp">
        <pc:chgData name="Baciu Lupascu, Raluca" userId="S::uidu4027@contiwan.com::68b8499e-70c7-46a5-a7f5-08d4a146f234" providerId="AD" clId="Web-{0EDE38E7-47F2-52E6-4450-9E0C78E5CB13}" dt="2022-03-09T14:59:51.944" v="57" actId="1076"/>
        <pc:sldMkLst>
          <pc:docMk/>
          <pc:sldMk cId="2204266640" sldId="385"/>
        </pc:sldMkLst>
        <pc:spChg chg="mod">
          <ac:chgData name="Baciu Lupascu, Raluca" userId="S::uidu4027@contiwan.com::68b8499e-70c7-46a5-a7f5-08d4a146f234" providerId="AD" clId="Web-{0EDE38E7-47F2-52E6-4450-9E0C78E5CB13}" dt="2022-03-09T14:59:48.131" v="56" actId="20577"/>
          <ac:spMkLst>
            <pc:docMk/>
            <pc:sldMk cId="2204266640" sldId="385"/>
            <ac:spMk id="21" creationId="{6E9C3F1C-1B4C-4AF1-AAD3-1054081C73AB}"/>
          </ac:spMkLst>
        </pc:spChg>
        <pc:spChg chg="mod">
          <ac:chgData name="Baciu Lupascu, Raluca" userId="S::uidu4027@contiwan.com::68b8499e-70c7-46a5-a7f5-08d4a146f234" providerId="AD" clId="Web-{0EDE38E7-47F2-52E6-4450-9E0C78E5CB13}" dt="2022-03-09T14:59:43.865" v="55" actId="20577"/>
          <ac:spMkLst>
            <pc:docMk/>
            <pc:sldMk cId="2204266640" sldId="385"/>
            <ac:spMk id="22" creationId="{A9D0C593-AEF6-46DB-9484-1C2DB853D11F}"/>
          </ac:spMkLst>
        </pc:spChg>
        <pc:picChg chg="mod">
          <ac:chgData name="Baciu Lupascu, Raluca" userId="S::uidu4027@contiwan.com::68b8499e-70c7-46a5-a7f5-08d4a146f234" providerId="AD" clId="Web-{0EDE38E7-47F2-52E6-4450-9E0C78E5CB13}" dt="2022-03-09T14:59:51.944" v="57" actId="1076"/>
          <ac:picMkLst>
            <pc:docMk/>
            <pc:sldMk cId="2204266640" sldId="385"/>
            <ac:picMk id="7" creationId="{CE79C617-3778-43BB-A057-D89D7982A456}"/>
          </ac:picMkLst>
        </pc:picChg>
      </pc:sldChg>
      <pc:sldChg chg="modSp">
        <pc:chgData name="Baciu Lupascu, Raluca" userId="S::uidu4027@contiwan.com::68b8499e-70c7-46a5-a7f5-08d4a146f234" providerId="AD" clId="Web-{0EDE38E7-47F2-52E6-4450-9E0C78E5CB13}" dt="2022-03-09T14:59:27.161" v="51" actId="20577"/>
        <pc:sldMkLst>
          <pc:docMk/>
          <pc:sldMk cId="1391369738" sldId="386"/>
        </pc:sldMkLst>
        <pc:spChg chg="mod">
          <ac:chgData name="Baciu Lupascu, Raluca" userId="S::uidu4027@contiwan.com::68b8499e-70c7-46a5-a7f5-08d4a146f234" providerId="AD" clId="Web-{0EDE38E7-47F2-52E6-4450-9E0C78E5CB13}" dt="2022-03-09T14:59:27.161" v="51" actId="20577"/>
          <ac:spMkLst>
            <pc:docMk/>
            <pc:sldMk cId="1391369738" sldId="386"/>
            <ac:spMk id="18" creationId="{33803A9F-A83C-4155-A38F-30B8DAA7A108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9:22.364" v="50" actId="14100"/>
        <pc:sldMkLst>
          <pc:docMk/>
          <pc:sldMk cId="1631270467" sldId="387"/>
        </pc:sldMkLst>
        <pc:spChg chg="mod">
          <ac:chgData name="Baciu Lupascu, Raluca" userId="S::uidu4027@contiwan.com::68b8499e-70c7-46a5-a7f5-08d4a146f234" providerId="AD" clId="Web-{0EDE38E7-47F2-52E6-4450-9E0C78E5CB13}" dt="2022-03-09T14:59:22.364" v="50" actId="14100"/>
          <ac:spMkLst>
            <pc:docMk/>
            <pc:sldMk cId="1631270467" sldId="387"/>
            <ac:spMk id="18" creationId="{E385B6F8-4D73-419C-9D47-5C5437587649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9:58.069" v="58" actId="20577"/>
        <pc:sldMkLst>
          <pc:docMk/>
          <pc:sldMk cId="2230068904" sldId="388"/>
        </pc:sldMkLst>
        <pc:spChg chg="mod">
          <ac:chgData name="Baciu Lupascu, Raluca" userId="S::uidu4027@contiwan.com::68b8499e-70c7-46a5-a7f5-08d4a146f234" providerId="AD" clId="Web-{0EDE38E7-47F2-52E6-4450-9E0C78E5CB13}" dt="2022-03-09T14:59:58.069" v="58" actId="20577"/>
          <ac:spMkLst>
            <pc:docMk/>
            <pc:sldMk cId="2230068904" sldId="388"/>
            <ac:spMk id="18" creationId="{31016E2B-48BC-46D7-B803-BF28A32EB537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5:00:03.616" v="59" actId="20577"/>
        <pc:sldMkLst>
          <pc:docMk/>
          <pc:sldMk cId="3956828881" sldId="389"/>
        </pc:sldMkLst>
        <pc:spChg chg="mod">
          <ac:chgData name="Baciu Lupascu, Raluca" userId="S::uidu4027@contiwan.com::68b8499e-70c7-46a5-a7f5-08d4a146f234" providerId="AD" clId="Web-{0EDE38E7-47F2-52E6-4450-9E0C78E5CB13}" dt="2022-03-09T15:00:03.616" v="59" actId="20577"/>
          <ac:spMkLst>
            <pc:docMk/>
            <pc:sldMk cId="3956828881" sldId="389"/>
            <ac:spMk id="18" creationId="{CC68B251-4F61-43A7-8EEE-9988E0EB1287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5:00:28.571" v="65" actId="20577"/>
        <pc:sldMkLst>
          <pc:docMk/>
          <pc:sldMk cId="1460182461" sldId="391"/>
        </pc:sldMkLst>
        <pc:spChg chg="mod">
          <ac:chgData name="Baciu Lupascu, Raluca" userId="S::uidu4027@contiwan.com::68b8499e-70c7-46a5-a7f5-08d4a146f234" providerId="AD" clId="Web-{0EDE38E7-47F2-52E6-4450-9E0C78E5CB13}" dt="2022-03-09T15:00:28.571" v="65" actId="20577"/>
          <ac:spMkLst>
            <pc:docMk/>
            <pc:sldMk cId="1460182461" sldId="391"/>
            <ac:spMk id="19" creationId="{DB18F9F7-02E4-484B-8A9A-7561F1A55178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5:30.693" v="7"/>
        <pc:sldMkLst>
          <pc:docMk/>
          <pc:sldMk cId="3183375760" sldId="400"/>
        </pc:sldMkLst>
        <pc:spChg chg="mod">
          <ac:chgData name="Baciu Lupascu, Raluca" userId="S::uidu4027@contiwan.com::68b8499e-70c7-46a5-a7f5-08d4a146f234" providerId="AD" clId="Web-{0EDE38E7-47F2-52E6-4450-9E0C78E5CB13}" dt="2022-03-09T14:55:30.693" v="7"/>
          <ac:spMkLst>
            <pc:docMk/>
            <pc:sldMk cId="3183375760" sldId="400"/>
            <ac:spMk id="2" creationId="{409D53E8-EED6-45C9-A0D9-87F93495102A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6:28.837" v="17" actId="20577"/>
        <pc:sldMkLst>
          <pc:docMk/>
          <pc:sldMk cId="621985575" sldId="403"/>
        </pc:sldMkLst>
        <pc:spChg chg="mod">
          <ac:chgData name="Baciu Lupascu, Raluca" userId="S::uidu4027@contiwan.com::68b8499e-70c7-46a5-a7f5-08d4a146f234" providerId="AD" clId="Web-{0EDE38E7-47F2-52E6-4450-9E0C78E5CB13}" dt="2022-03-09T14:56:28.837" v="17" actId="20577"/>
          <ac:spMkLst>
            <pc:docMk/>
            <pc:sldMk cId="621985575" sldId="403"/>
            <ac:spMk id="2" creationId="{1EE0F56A-CABB-46CC-B741-B7A3F97166F7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5:44.725" v="9"/>
        <pc:sldMkLst>
          <pc:docMk/>
          <pc:sldMk cId="3277503521" sldId="404"/>
        </pc:sldMkLst>
        <pc:spChg chg="mod">
          <ac:chgData name="Baciu Lupascu, Raluca" userId="S::uidu4027@contiwan.com::68b8499e-70c7-46a5-a7f5-08d4a146f234" providerId="AD" clId="Web-{0EDE38E7-47F2-52E6-4450-9E0C78E5CB13}" dt="2022-03-09T14:55:44.725" v="9"/>
          <ac:spMkLst>
            <pc:docMk/>
            <pc:sldMk cId="3277503521" sldId="404"/>
            <ac:spMk id="2" creationId="{409D53E8-EED6-45C9-A0D9-87F93495102A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5:59.835" v="11" actId="1076"/>
        <pc:sldMkLst>
          <pc:docMk/>
          <pc:sldMk cId="2056359749" sldId="407"/>
        </pc:sldMkLst>
        <pc:spChg chg="mod">
          <ac:chgData name="Baciu Lupascu, Raluca" userId="S::uidu4027@contiwan.com::68b8499e-70c7-46a5-a7f5-08d4a146f234" providerId="AD" clId="Web-{0EDE38E7-47F2-52E6-4450-9E0C78E5CB13}" dt="2022-03-09T14:55:59.835" v="11" actId="1076"/>
          <ac:spMkLst>
            <pc:docMk/>
            <pc:sldMk cId="2056359749" sldId="407"/>
            <ac:spMk id="2" creationId="{8BAAF7B6-1B36-449A-9574-0DC08235D874}"/>
          </ac:spMkLst>
        </pc:spChg>
      </pc:sldChg>
      <pc:sldChg chg="modSp">
        <pc:chgData name="Baciu Lupascu, Raluca" userId="S::uidu4027@contiwan.com::68b8499e-70c7-46a5-a7f5-08d4a146f234" providerId="AD" clId="Web-{0EDE38E7-47F2-52E6-4450-9E0C78E5CB13}" dt="2022-03-09T14:56:47.369" v="20" actId="20577"/>
        <pc:sldMkLst>
          <pc:docMk/>
          <pc:sldMk cId="708106909" sldId="409"/>
        </pc:sldMkLst>
        <pc:spChg chg="mod">
          <ac:chgData name="Baciu Lupascu, Raluca" userId="S::uidu4027@contiwan.com::68b8499e-70c7-46a5-a7f5-08d4a146f234" providerId="AD" clId="Web-{0EDE38E7-47F2-52E6-4450-9E0C78E5CB13}" dt="2022-03-09T14:56:47.369" v="20" actId="20577"/>
          <ac:spMkLst>
            <pc:docMk/>
            <pc:sldMk cId="708106909" sldId="409"/>
            <ac:spMk id="2" creationId="{C1F5861E-D3CA-4DE4-8891-535D46D3E8BD}"/>
          </ac:spMkLst>
        </pc:spChg>
      </pc:sldChg>
    </pc:docChg>
  </pc:docChgLst>
  <pc:docChgLst>
    <pc:chgData name="Baciu Lupascu, Raluca" userId="68b8499e-70c7-46a5-a7f5-08d4a146f234" providerId="ADAL" clId="{F8BAAFD1-C6A5-4AFB-88AA-0203380F60C4}"/>
    <pc:docChg chg="modMainMaster">
      <pc:chgData name="Baciu Lupascu, Raluca" userId="68b8499e-70c7-46a5-a7f5-08d4a146f234" providerId="ADAL" clId="{F8BAAFD1-C6A5-4AFB-88AA-0203380F60C4}" dt="2023-04-26T10:53:03.636" v="0" actId="33475"/>
      <pc:docMkLst>
        <pc:docMk/>
      </pc:docMkLst>
      <pc:sldMasterChg chg="delSp mod">
        <pc:chgData name="Baciu Lupascu, Raluca" userId="68b8499e-70c7-46a5-a7f5-08d4a146f234" providerId="ADAL" clId="{F8BAAFD1-C6A5-4AFB-88AA-0203380F60C4}" dt="2023-04-26T10:53:03.636" v="0" actId="33475"/>
        <pc:sldMasterMkLst>
          <pc:docMk/>
          <pc:sldMasterMk cId="162286515" sldId="2147483717"/>
        </pc:sldMasterMkLst>
        <pc:spChg chg="del">
          <ac:chgData name="Baciu Lupascu, Raluca" userId="68b8499e-70c7-46a5-a7f5-08d4a146f234" providerId="ADAL" clId="{F8BAAFD1-C6A5-4AFB-88AA-0203380F60C4}" dt="2023-04-26T10:53:03.636" v="0" actId="33475"/>
          <ac:spMkLst>
            <pc:docMk/>
            <pc:sldMasterMk cId="162286515" sldId="2147483717"/>
            <ac:spMk id="6" creationId="{D46400F2-7D9E-4CC2-BFF7-44012A682601}"/>
          </ac:spMkLst>
        </pc:spChg>
      </pc:sldMasterChg>
    </pc:docChg>
  </pc:docChgLst>
  <pc:docChgLst>
    <pc:chgData name="Baciu Lupascu, Raluca" userId="68b8499e-70c7-46a5-a7f5-08d4a146f234" providerId="ADAL" clId="{76348DE4-0F13-4C3F-9318-EC501E8D442D}"/>
    <pc:docChg chg="custSel delSld modSld modNotesMaster modHandout">
      <pc:chgData name="Baciu Lupascu, Raluca" userId="68b8499e-70c7-46a5-a7f5-08d4a146f234" providerId="ADAL" clId="{76348DE4-0F13-4C3F-9318-EC501E8D442D}" dt="2023-03-13T16:06:04.670" v="7"/>
      <pc:docMkLst>
        <pc:docMk/>
      </pc:docMkLst>
      <pc:sldChg chg="modNotes">
        <pc:chgData name="Baciu Lupascu, Raluca" userId="68b8499e-70c7-46a5-a7f5-08d4a146f234" providerId="ADAL" clId="{76348DE4-0F13-4C3F-9318-EC501E8D442D}" dt="2023-03-13T16:06:04.670" v="7"/>
        <pc:sldMkLst>
          <pc:docMk/>
          <pc:sldMk cId="405727037" sldId="351"/>
        </pc:sldMkLst>
      </pc:sldChg>
      <pc:sldChg chg="addSp delSp modSp mod">
        <pc:chgData name="Baciu Lupascu, Raluca" userId="68b8499e-70c7-46a5-a7f5-08d4a146f234" providerId="ADAL" clId="{76348DE4-0F13-4C3F-9318-EC501E8D442D}" dt="2023-03-13T13:29:59.628" v="5" actId="478"/>
        <pc:sldMkLst>
          <pc:docMk/>
          <pc:sldMk cId="2161531663" sldId="367"/>
        </pc:sldMkLst>
        <pc:spChg chg="add del mod">
          <ac:chgData name="Baciu Lupascu, Raluca" userId="68b8499e-70c7-46a5-a7f5-08d4a146f234" providerId="ADAL" clId="{76348DE4-0F13-4C3F-9318-EC501E8D442D}" dt="2023-03-13T13:29:59.628" v="5" actId="478"/>
          <ac:spMkLst>
            <pc:docMk/>
            <pc:sldMk cId="2161531663" sldId="367"/>
            <ac:spMk id="4" creationId="{7383F731-F336-4A4D-AEC2-9E0B288F4D37}"/>
          </ac:spMkLst>
        </pc:spChg>
      </pc:sldChg>
      <pc:sldChg chg="del">
        <pc:chgData name="Baciu Lupascu, Raluca" userId="68b8499e-70c7-46a5-a7f5-08d4a146f234" providerId="ADAL" clId="{76348DE4-0F13-4C3F-9318-EC501E8D442D}" dt="2023-03-13T14:39:29.940" v="6" actId="2696"/>
        <pc:sldMkLst>
          <pc:docMk/>
          <pc:sldMk cId="476902243" sldId="392"/>
        </pc:sldMkLst>
      </pc:sldChg>
    </pc:docChg>
  </pc:docChgLst>
  <pc:docChgLst>
    <pc:chgData name="Baciu Lupascu, Raluca" userId="68b8499e-70c7-46a5-a7f5-08d4a146f234" providerId="ADAL" clId="{D306BB26-EB9F-4E01-A290-0111A7EB9CD4}"/>
    <pc:docChg chg="undo redo custSel addSld delSld modSld delMainMaster modMainMaster">
      <pc:chgData name="Baciu Lupascu, Raluca" userId="68b8499e-70c7-46a5-a7f5-08d4a146f234" providerId="ADAL" clId="{D306BB26-EB9F-4E01-A290-0111A7EB9CD4}" dt="2022-03-09T14:44:13.676" v="3326" actId="207"/>
      <pc:docMkLst>
        <pc:docMk/>
      </pc:docMkLst>
      <pc:sldChg chg="addSp delSp modSp mod modTransition modClrScheme chgLayout modNotes">
        <pc:chgData name="Baciu Lupascu, Raluca" userId="68b8499e-70c7-46a5-a7f5-08d4a146f234" providerId="ADAL" clId="{D306BB26-EB9F-4E01-A290-0111A7EB9CD4}" dt="2022-03-09T14:01:29.264" v="2558"/>
        <pc:sldMkLst>
          <pc:docMk/>
          <pc:sldMk cId="405727037" sldId="351"/>
        </pc:sldMkLst>
        <pc:spChg chg="mod ord">
          <ac:chgData name="Baciu Lupascu, Raluca" userId="68b8499e-70c7-46a5-a7f5-08d4a146f234" providerId="ADAL" clId="{D306BB26-EB9F-4E01-A290-0111A7EB9CD4}" dt="2022-03-09T13:58:16.773" v="2556" actId="14100"/>
          <ac:spMkLst>
            <pc:docMk/>
            <pc:sldMk cId="405727037" sldId="351"/>
            <ac:spMk id="3" creationId="{00000000-0000-0000-0000-000000000000}"/>
          </ac:spMkLst>
        </pc:spChg>
        <pc:spChg chg="del mod ord">
          <ac:chgData name="Baciu Lupascu, Raluca" userId="68b8499e-70c7-46a5-a7f5-08d4a146f234" providerId="ADAL" clId="{D306BB26-EB9F-4E01-A290-0111A7EB9CD4}" dt="2022-03-09T13:36:46.381" v="2157" actId="478"/>
          <ac:spMkLst>
            <pc:docMk/>
            <pc:sldMk cId="405727037" sldId="351"/>
            <ac:spMk id="5" creationId="{00000000-0000-0000-0000-000000000000}"/>
          </ac:spMkLst>
        </pc:spChg>
        <pc:spChg chg="del mod ord">
          <ac:chgData name="Baciu Lupascu, Raluca" userId="68b8499e-70c7-46a5-a7f5-08d4a146f234" providerId="ADAL" clId="{D306BB26-EB9F-4E01-A290-0111A7EB9CD4}" dt="2022-03-09T13:36:54.276" v="2159" actId="478"/>
          <ac:spMkLst>
            <pc:docMk/>
            <pc:sldMk cId="405727037" sldId="351"/>
            <ac:spMk id="6" creationId="{00000000-0000-0000-0000-000000000000}"/>
          </ac:spMkLst>
        </pc:spChg>
        <pc:spChg chg="mod ord">
          <ac:chgData name="Baciu Lupascu, Raluca" userId="68b8499e-70c7-46a5-a7f5-08d4a146f234" providerId="ADAL" clId="{D306BB26-EB9F-4E01-A290-0111A7EB9CD4}" dt="2022-03-09T14:01:29.264" v="2558"/>
          <ac:spMkLst>
            <pc:docMk/>
            <pc:sldMk cId="405727037" sldId="351"/>
            <ac:spMk id="7" creationId="{019846CB-13FB-4A89-A9FA-2724147AF285}"/>
          </ac:spMkLst>
        </pc:spChg>
        <pc:spChg chg="mod">
          <ac:chgData name="Baciu Lupascu, Raluca" userId="68b8499e-70c7-46a5-a7f5-08d4a146f234" providerId="ADAL" clId="{D306BB26-EB9F-4E01-A290-0111A7EB9CD4}" dt="2022-03-09T13:35:55.725" v="1273" actId="790"/>
          <ac:spMkLst>
            <pc:docMk/>
            <pc:sldMk cId="405727037" sldId="351"/>
            <ac:spMk id="9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5.726" v="1274" actId="790"/>
          <ac:spMkLst>
            <pc:docMk/>
            <pc:sldMk cId="405727037" sldId="351"/>
            <ac:spMk id="11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5.727" v="1275" actId="790"/>
          <ac:spMkLst>
            <pc:docMk/>
            <pc:sldMk cId="405727037" sldId="351"/>
            <ac:spMk id="12" creationId="{00000000-0000-0000-0000-000000000000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3" creationId="{2E3F1D4B-4C5B-494D-BB69-2E46794EBEC9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4" creationId="{C342CD77-E6A2-4156-8787-8BC178547707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5" creationId="{423E84BB-0783-499A-B946-6DE9922AACB8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6" creationId="{56FCD8F2-CBC1-4C35-BB4A-FD36B5C30040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7" creationId="{5325FD09-4CBF-49AB-9363-872AF76496F8}"/>
          </ac:spMkLst>
        </pc:spChg>
        <pc:spChg chg="add del mod">
          <ac:chgData name="Baciu Lupascu, Raluca" userId="68b8499e-70c7-46a5-a7f5-08d4a146f234" providerId="ADAL" clId="{D306BB26-EB9F-4E01-A290-0111A7EB9CD4}" dt="2022-03-09T13:35:49.530" v="1080" actId="6264"/>
          <ac:spMkLst>
            <pc:docMk/>
            <pc:sldMk cId="405727037" sldId="351"/>
            <ac:spMk id="19" creationId="{678C579E-96CC-48C5-A935-E009101FEF9C}"/>
          </ac:spMkLst>
        </pc:spChg>
        <pc:spChg chg="add del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0" creationId="{3252581C-ACD6-4CF4-91CC-D968C27AD2F0}"/>
          </ac:spMkLst>
        </pc:spChg>
        <pc:spChg chg="add del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1" creationId="{7700D7DA-B030-4BF2-A873-E6FD89E0E7F2}"/>
          </ac:spMkLst>
        </pc:spChg>
        <pc:spChg chg="add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2" creationId="{9DD2EACD-EC74-4BDB-BC85-EC3886D0C1BB}"/>
          </ac:spMkLst>
        </pc:spChg>
        <pc:spChg chg="add del mod">
          <ac:chgData name="Baciu Lupascu, Raluca" userId="68b8499e-70c7-46a5-a7f5-08d4a146f234" providerId="ADAL" clId="{D306BB26-EB9F-4E01-A290-0111A7EB9CD4}" dt="2022-03-09T13:35:56.330" v="1861"/>
          <ac:spMkLst>
            <pc:docMk/>
            <pc:sldMk cId="405727037" sldId="351"/>
            <ac:spMk id="23" creationId="{EED23B1F-E81F-429E-AEAC-102B118E8EC6}"/>
          </ac:spMkLst>
        </pc:spChg>
        <pc:spChg chg="add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4" creationId="{790B725D-429E-44E8-B04E-AED8CDC1FB5B}"/>
          </ac:spMkLst>
        </pc:spChg>
        <pc:spChg chg="add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5" creationId="{BCC333D8-3B08-4A75-9D19-851D3986E0C4}"/>
          </ac:spMkLst>
        </pc:spChg>
        <pc:spChg chg="add mod ord">
          <ac:chgData name="Baciu Lupascu, Raluca" userId="68b8499e-70c7-46a5-a7f5-08d4a146f234" providerId="ADAL" clId="{D306BB26-EB9F-4E01-A290-0111A7EB9CD4}" dt="2022-03-09T13:36:12.888" v="2089" actId="700"/>
          <ac:spMkLst>
            <pc:docMk/>
            <pc:sldMk cId="405727037" sldId="351"/>
            <ac:spMk id="26" creationId="{53F6D37B-5E52-480C-85B1-761101B33F1C}"/>
          </ac:spMkLst>
        </pc:spChg>
        <pc:spChg chg="add del mod ord">
          <ac:chgData name="Baciu Lupascu, Raluca" userId="68b8499e-70c7-46a5-a7f5-08d4a146f234" providerId="ADAL" clId="{D306BB26-EB9F-4E01-A290-0111A7EB9CD4}" dt="2022-03-09T13:36:34.837" v="2091"/>
          <ac:spMkLst>
            <pc:docMk/>
            <pc:sldMk cId="405727037" sldId="351"/>
            <ac:spMk id="27" creationId="{47574732-1C31-45E9-9C23-80B4ECB8707E}"/>
          </ac:spMkLst>
        </pc:spChg>
        <pc:spChg chg="add del mod">
          <ac:chgData name="Baciu Lupascu, Raluca" userId="68b8499e-70c7-46a5-a7f5-08d4a146f234" providerId="ADAL" clId="{D306BB26-EB9F-4E01-A290-0111A7EB9CD4}" dt="2022-03-09T13:36:35.251" v="2122"/>
          <ac:spMkLst>
            <pc:docMk/>
            <pc:sldMk cId="405727037" sldId="351"/>
            <ac:spMk id="30" creationId="{27EB89EC-2965-4506-9387-DE9E967669F0}"/>
          </ac:spMkLst>
        </pc:spChg>
        <pc:spChg chg="add del mod">
          <ac:chgData name="Baciu Lupascu, Raluca" userId="68b8499e-70c7-46a5-a7f5-08d4a146f234" providerId="ADAL" clId="{D306BB26-EB9F-4E01-A290-0111A7EB9CD4}" dt="2022-03-09T13:36:50.691" v="2158" actId="478"/>
          <ac:spMkLst>
            <pc:docMk/>
            <pc:sldMk cId="405727037" sldId="351"/>
            <ac:spMk id="33" creationId="{DB338EBB-FFD6-4802-B35E-9944460D8E07}"/>
          </ac:spMkLst>
        </pc:spChg>
        <pc:spChg chg="add del mod">
          <ac:chgData name="Baciu Lupascu, Raluca" userId="68b8499e-70c7-46a5-a7f5-08d4a146f234" providerId="ADAL" clId="{D306BB26-EB9F-4E01-A290-0111A7EB9CD4}" dt="2022-03-09T13:36:57.970" v="2160" actId="478"/>
          <ac:spMkLst>
            <pc:docMk/>
            <pc:sldMk cId="405727037" sldId="351"/>
            <ac:spMk id="35" creationId="{67DA98CF-920E-443B-935F-680D51DBA03A}"/>
          </ac:spMkLst>
        </pc:spChg>
        <pc:picChg chg="add del mod ord">
          <ac:chgData name="Baciu Lupascu, Raluca" userId="68b8499e-70c7-46a5-a7f5-08d4a146f234" providerId="ADAL" clId="{D306BB26-EB9F-4E01-A290-0111A7EB9CD4}" dt="2022-03-09T13:36:35.251" v="2120"/>
          <ac:picMkLst>
            <pc:docMk/>
            <pc:sldMk cId="405727037" sldId="351"/>
            <ac:picMk id="28" creationId="{F559B921-66B6-459A-84B8-F44104884808}"/>
          </ac:picMkLst>
        </pc:picChg>
        <pc:picChg chg="add mod ord">
          <ac:chgData name="Baciu Lupascu, Raluca" userId="68b8499e-70c7-46a5-a7f5-08d4a146f234" providerId="ADAL" clId="{D306BB26-EB9F-4E01-A290-0111A7EB9CD4}" dt="2022-03-09T13:36:35.261" v="2155"/>
          <ac:picMkLst>
            <pc:docMk/>
            <pc:sldMk cId="405727037" sldId="351"/>
            <ac:picMk id="31" creationId="{3425ACD0-6B75-4A1B-A5A0-07E2B22D6EBE}"/>
          </ac:picMkLst>
        </pc:picChg>
        <pc:picChg chg="add mod">
          <ac:chgData name="Baciu Lupascu, Raluca" userId="68b8499e-70c7-46a5-a7f5-08d4a146f234" providerId="ADAL" clId="{D306BB26-EB9F-4E01-A290-0111A7EB9CD4}" dt="2022-03-09T13:37:08.822" v="2162" actId="1076"/>
          <ac:picMkLst>
            <pc:docMk/>
            <pc:sldMk cId="405727037" sldId="351"/>
            <ac:picMk id="36" creationId="{E91EDD86-EB95-4EE7-A767-5AA0C3C67BCE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6:57.569" v="2524" actId="14100"/>
        <pc:sldMkLst>
          <pc:docMk/>
          <pc:sldMk cId="66556628" sldId="352"/>
        </pc:sldMkLst>
        <pc:spChg chg="mod ord">
          <ac:chgData name="Baciu Lupascu, Raluca" userId="68b8499e-70c7-46a5-a7f5-08d4a146f234" providerId="ADAL" clId="{D306BB26-EB9F-4E01-A290-0111A7EB9CD4}" dt="2022-03-09T13:56:57.569" v="2524" actId="14100"/>
          <ac:spMkLst>
            <pc:docMk/>
            <pc:sldMk cId="66556628" sldId="352"/>
            <ac:spMk id="2" creationId="{B68EB683-4C4A-436B-BB43-828DD13EC411}"/>
          </ac:spMkLst>
        </pc:spChg>
        <pc:spChg chg="mod ord">
          <ac:chgData name="Baciu Lupascu, Raluca" userId="68b8499e-70c7-46a5-a7f5-08d4a146f234" providerId="ADAL" clId="{D306BB26-EB9F-4E01-A290-0111A7EB9CD4}" dt="2022-03-09T13:56:54.220" v="2523" actId="14100"/>
          <ac:spMkLst>
            <pc:docMk/>
            <pc:sldMk cId="66556628" sldId="352"/>
            <ac:spMk id="3" creationId="{58050ED1-F08F-4FAA-A963-B89417C2C6CC}"/>
          </ac:spMkLst>
        </pc:spChg>
        <pc:spChg chg="del mod ord">
          <ac:chgData name="Baciu Lupascu, Raluca" userId="68b8499e-70c7-46a5-a7f5-08d4a146f234" providerId="ADAL" clId="{D306BB26-EB9F-4E01-A290-0111A7EB9CD4}" dt="2022-03-09T13:35:48.429" v="163"/>
          <ac:spMkLst>
            <pc:docMk/>
            <pc:sldMk cId="66556628" sldId="352"/>
            <ac:spMk id="4" creationId="{60FE1474-FB14-4DCC-821F-BEFA65A03C9D}"/>
          </ac:spMkLst>
        </pc:spChg>
        <pc:spChg chg="del mod ord">
          <ac:chgData name="Baciu Lupascu, Raluca" userId="68b8499e-70c7-46a5-a7f5-08d4a146f234" providerId="ADAL" clId="{D306BB26-EB9F-4E01-A290-0111A7EB9CD4}" dt="2022-03-09T13:35:48.429" v="165"/>
          <ac:spMkLst>
            <pc:docMk/>
            <pc:sldMk cId="66556628" sldId="352"/>
            <ac:spMk id="5" creationId="{AF42A11F-6A5D-44B2-A9A1-21C4C42C7970}"/>
          </ac:spMkLst>
        </pc:spChg>
        <pc:spChg chg="del mod ord">
          <ac:chgData name="Baciu Lupascu, Raluca" userId="68b8499e-70c7-46a5-a7f5-08d4a146f234" providerId="ADAL" clId="{D306BB26-EB9F-4E01-A290-0111A7EB9CD4}" dt="2022-03-09T13:35:48.429" v="164"/>
          <ac:spMkLst>
            <pc:docMk/>
            <pc:sldMk cId="66556628" sldId="352"/>
            <ac:spMk id="6" creationId="{A56275E6-5EC0-47B3-95A4-7EEB0A987004}"/>
          </ac:spMkLst>
        </pc:spChg>
        <pc:spChg chg="add del mod">
          <ac:chgData name="Baciu Lupascu, Raluca" userId="68b8499e-70c7-46a5-a7f5-08d4a146f234" providerId="ADAL" clId="{D306BB26-EB9F-4E01-A290-0111A7EB9CD4}" dt="2022-03-09T13:35:47.371" v="8" actId="6264"/>
          <ac:spMkLst>
            <pc:docMk/>
            <pc:sldMk cId="66556628" sldId="352"/>
            <ac:spMk id="7" creationId="{7A3C7B96-4444-41EF-8AF1-DF7B0BD7C897}"/>
          </ac:spMkLst>
        </pc:spChg>
        <pc:spChg chg="add del mod">
          <ac:chgData name="Baciu Lupascu, Raluca" userId="68b8499e-70c7-46a5-a7f5-08d4a146f234" providerId="ADAL" clId="{D306BB26-EB9F-4E01-A290-0111A7EB9CD4}" dt="2022-03-09T13:35:47.371" v="8" actId="6264"/>
          <ac:spMkLst>
            <pc:docMk/>
            <pc:sldMk cId="66556628" sldId="352"/>
            <ac:spMk id="8" creationId="{6951ECCE-B711-4734-9D5F-4BC6C9FAC5BC}"/>
          </ac:spMkLst>
        </pc:spChg>
        <pc:spChg chg="add del mod">
          <ac:chgData name="Baciu Lupascu, Raluca" userId="68b8499e-70c7-46a5-a7f5-08d4a146f234" providerId="ADAL" clId="{D306BB26-EB9F-4E01-A290-0111A7EB9CD4}" dt="2022-03-09T13:35:47.371" v="8" actId="6264"/>
          <ac:spMkLst>
            <pc:docMk/>
            <pc:sldMk cId="66556628" sldId="352"/>
            <ac:spMk id="9" creationId="{8A9006E7-1D59-42A9-84CF-AAD285051F84}"/>
          </ac:spMkLst>
        </pc:spChg>
        <pc:spChg chg="add del mod">
          <ac:chgData name="Baciu Lupascu, Raluca" userId="68b8499e-70c7-46a5-a7f5-08d4a146f234" providerId="ADAL" clId="{D306BB26-EB9F-4E01-A290-0111A7EB9CD4}" dt="2022-03-09T13:35:47.371" v="8" actId="6264"/>
          <ac:spMkLst>
            <pc:docMk/>
            <pc:sldMk cId="66556628" sldId="352"/>
            <ac:spMk id="10" creationId="{84AEB56F-C56D-44CB-91B7-65E37067F2A0}"/>
          </ac:spMkLst>
        </pc:spChg>
        <pc:spChg chg="add del mod">
          <ac:chgData name="Baciu Lupascu, Raluca" userId="68b8499e-70c7-46a5-a7f5-08d4a146f234" providerId="ADAL" clId="{D306BB26-EB9F-4E01-A290-0111A7EB9CD4}" dt="2022-03-09T13:35:47.371" v="8" actId="6264"/>
          <ac:spMkLst>
            <pc:docMk/>
            <pc:sldMk cId="66556628" sldId="352"/>
            <ac:spMk id="11" creationId="{799574FF-228D-408E-A662-09FDBB5E8364}"/>
          </ac:spMkLst>
        </pc:spChg>
        <pc:spChg chg="add del mod">
          <ac:chgData name="Baciu Lupascu, Raluca" userId="68b8499e-70c7-46a5-a7f5-08d4a146f234" providerId="ADAL" clId="{D306BB26-EB9F-4E01-A290-0111A7EB9CD4}" dt="2022-03-09T13:35:56.342" v="1892"/>
          <ac:spMkLst>
            <pc:docMk/>
            <pc:sldMk cId="66556628" sldId="352"/>
            <ac:spMk id="12" creationId="{713C908A-3BA8-4B32-A4D8-9A6CC2B63AF1}"/>
          </ac:spMkLst>
        </pc:spChg>
        <pc:spChg chg="add mod">
          <ac:chgData name="Baciu Lupascu, Raluca" userId="68b8499e-70c7-46a5-a7f5-08d4a146f234" providerId="ADAL" clId="{D306BB26-EB9F-4E01-A290-0111A7EB9CD4}" dt="2022-03-09T13:42:43.160" v="2191" actId="26606"/>
          <ac:spMkLst>
            <pc:docMk/>
            <pc:sldMk cId="66556628" sldId="352"/>
            <ac:spMk id="13" creationId="{7C0166AF-D947-4044-BA0A-D83C1A07023D}"/>
          </ac:spMkLst>
        </pc:spChg>
        <pc:spChg chg="add mod">
          <ac:chgData name="Baciu Lupascu, Raluca" userId="68b8499e-70c7-46a5-a7f5-08d4a146f234" providerId="ADAL" clId="{D306BB26-EB9F-4E01-A290-0111A7EB9CD4}" dt="2022-03-09T13:42:43.160" v="2191" actId="26606"/>
          <ac:spMkLst>
            <pc:docMk/>
            <pc:sldMk cId="66556628" sldId="352"/>
            <ac:spMk id="14" creationId="{0140B711-9585-4F5B-BB66-CE9DA4EB2BA8}"/>
          </ac:spMkLst>
        </pc:spChg>
        <pc:spChg chg="add mod ord">
          <ac:chgData name="Baciu Lupascu, Raluca" userId="68b8499e-70c7-46a5-a7f5-08d4a146f234" providerId="ADAL" clId="{D306BB26-EB9F-4E01-A290-0111A7EB9CD4}" dt="2022-03-09T13:42:43.160" v="2191" actId="26606"/>
          <ac:spMkLst>
            <pc:docMk/>
            <pc:sldMk cId="66556628" sldId="352"/>
            <ac:spMk id="15" creationId="{8AC2E0F4-1DA7-4B27-97DD-4790CEAA0C99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7:14.857" v="2529" actId="14100"/>
        <pc:sldMkLst>
          <pc:docMk/>
          <pc:sldMk cId="1257319759" sldId="353"/>
        </pc:sldMkLst>
        <pc:spChg chg="mod ord">
          <ac:chgData name="Baciu Lupascu, Raluca" userId="68b8499e-70c7-46a5-a7f5-08d4a146f234" providerId="ADAL" clId="{D306BB26-EB9F-4E01-A290-0111A7EB9CD4}" dt="2022-03-09T13:51:14.751" v="2356" actId="947"/>
          <ac:spMkLst>
            <pc:docMk/>
            <pc:sldMk cId="1257319759" sldId="353"/>
            <ac:spMk id="2" creationId="{092B23DF-6777-4C49-9A70-8915EE3E6275}"/>
          </ac:spMkLst>
        </pc:spChg>
        <pc:spChg chg="mod ord">
          <ac:chgData name="Baciu Lupascu, Raluca" userId="68b8499e-70c7-46a5-a7f5-08d4a146f234" providerId="ADAL" clId="{D306BB26-EB9F-4E01-A290-0111A7EB9CD4}" dt="2022-03-09T13:57:14.857" v="2529" actId="14100"/>
          <ac:spMkLst>
            <pc:docMk/>
            <pc:sldMk cId="1257319759" sldId="353"/>
            <ac:spMk id="3" creationId="{C4F6B602-7F34-4E15-9DDC-E07E06AD1238}"/>
          </ac:spMkLst>
        </pc:spChg>
        <pc:spChg chg="del mod ord">
          <ac:chgData name="Baciu Lupascu, Raluca" userId="68b8499e-70c7-46a5-a7f5-08d4a146f234" providerId="ADAL" clId="{D306BB26-EB9F-4E01-A290-0111A7EB9CD4}" dt="2022-03-09T13:35:48.352" v="115"/>
          <ac:spMkLst>
            <pc:docMk/>
            <pc:sldMk cId="1257319759" sldId="353"/>
            <ac:spMk id="4" creationId="{4420724F-8990-4C97-800F-1EA4C900F125}"/>
          </ac:spMkLst>
        </pc:spChg>
        <pc:spChg chg="del mod ord">
          <ac:chgData name="Baciu Lupascu, Raluca" userId="68b8499e-70c7-46a5-a7f5-08d4a146f234" providerId="ADAL" clId="{D306BB26-EB9F-4E01-A290-0111A7EB9CD4}" dt="2022-03-09T13:35:48.352" v="117"/>
          <ac:spMkLst>
            <pc:docMk/>
            <pc:sldMk cId="1257319759" sldId="353"/>
            <ac:spMk id="5" creationId="{15CF702A-6FD6-4738-A6D9-E5D71069FB01}"/>
          </ac:spMkLst>
        </pc:spChg>
        <pc:spChg chg="del mod ord">
          <ac:chgData name="Baciu Lupascu, Raluca" userId="68b8499e-70c7-46a5-a7f5-08d4a146f234" providerId="ADAL" clId="{D306BB26-EB9F-4E01-A290-0111A7EB9CD4}" dt="2022-03-09T13:35:48.352" v="116"/>
          <ac:spMkLst>
            <pc:docMk/>
            <pc:sldMk cId="1257319759" sldId="353"/>
            <ac:spMk id="6" creationId="{D75C498C-F111-4E33-8FBE-FE76DFE1C8F6}"/>
          </ac:spMkLst>
        </pc:spChg>
        <pc:spChg chg="add del mod">
          <ac:chgData name="Baciu Lupascu, Raluca" userId="68b8499e-70c7-46a5-a7f5-08d4a146f234" providerId="ADAL" clId="{D306BB26-EB9F-4E01-A290-0111A7EB9CD4}" dt="2022-03-09T13:35:47.297" v="4" actId="6264"/>
          <ac:spMkLst>
            <pc:docMk/>
            <pc:sldMk cId="1257319759" sldId="353"/>
            <ac:spMk id="7" creationId="{AD83F972-ACF9-4FB8-B7A7-5C8142833E1B}"/>
          </ac:spMkLst>
        </pc:spChg>
        <pc:spChg chg="add del mod">
          <ac:chgData name="Baciu Lupascu, Raluca" userId="68b8499e-70c7-46a5-a7f5-08d4a146f234" providerId="ADAL" clId="{D306BB26-EB9F-4E01-A290-0111A7EB9CD4}" dt="2022-03-09T13:35:47.297" v="4" actId="6264"/>
          <ac:spMkLst>
            <pc:docMk/>
            <pc:sldMk cId="1257319759" sldId="353"/>
            <ac:spMk id="8" creationId="{D36EC169-3204-463F-85F6-24E7237F0A25}"/>
          </ac:spMkLst>
        </pc:spChg>
        <pc:spChg chg="add del mod">
          <ac:chgData name="Baciu Lupascu, Raluca" userId="68b8499e-70c7-46a5-a7f5-08d4a146f234" providerId="ADAL" clId="{D306BB26-EB9F-4E01-A290-0111A7EB9CD4}" dt="2022-03-09T13:35:47.297" v="4" actId="6264"/>
          <ac:spMkLst>
            <pc:docMk/>
            <pc:sldMk cId="1257319759" sldId="353"/>
            <ac:spMk id="9" creationId="{3D9DFE0D-01EB-403E-9AF7-728CCCFB67C8}"/>
          </ac:spMkLst>
        </pc:spChg>
        <pc:spChg chg="add del mod">
          <ac:chgData name="Baciu Lupascu, Raluca" userId="68b8499e-70c7-46a5-a7f5-08d4a146f234" providerId="ADAL" clId="{D306BB26-EB9F-4E01-A290-0111A7EB9CD4}" dt="2022-03-09T13:35:47.297" v="4" actId="6264"/>
          <ac:spMkLst>
            <pc:docMk/>
            <pc:sldMk cId="1257319759" sldId="353"/>
            <ac:spMk id="10" creationId="{FE99332E-7CB9-4765-9368-267FF0B86352}"/>
          </ac:spMkLst>
        </pc:spChg>
        <pc:spChg chg="add del mod">
          <ac:chgData name="Baciu Lupascu, Raluca" userId="68b8499e-70c7-46a5-a7f5-08d4a146f234" providerId="ADAL" clId="{D306BB26-EB9F-4E01-A290-0111A7EB9CD4}" dt="2022-03-09T13:35:47.297" v="4" actId="6264"/>
          <ac:spMkLst>
            <pc:docMk/>
            <pc:sldMk cId="1257319759" sldId="353"/>
            <ac:spMk id="11" creationId="{66B3FD1D-34F5-435D-965E-4742A66C3AF4}"/>
          </ac:spMkLst>
        </pc:spChg>
        <pc:spChg chg="add del mod">
          <ac:chgData name="Baciu Lupascu, Raluca" userId="68b8499e-70c7-46a5-a7f5-08d4a146f234" providerId="ADAL" clId="{D306BB26-EB9F-4E01-A290-0111A7EB9CD4}" dt="2022-03-09T13:35:56.335" v="1872"/>
          <ac:spMkLst>
            <pc:docMk/>
            <pc:sldMk cId="1257319759" sldId="353"/>
            <ac:spMk id="12" creationId="{8A56E641-F688-4529-A210-7E5967F52EA1}"/>
          </ac:spMkLst>
        </pc:spChg>
        <pc:spChg chg="add mod ord">
          <ac:chgData name="Baciu Lupascu, Raluca" userId="68b8499e-70c7-46a5-a7f5-08d4a146f234" providerId="ADAL" clId="{D306BB26-EB9F-4E01-A290-0111A7EB9CD4}" dt="2022-03-09T13:37:38.026" v="2166" actId="26606"/>
          <ac:spMkLst>
            <pc:docMk/>
            <pc:sldMk cId="1257319759" sldId="353"/>
            <ac:spMk id="13" creationId="{9D08B0B8-5A90-41EA-9FD6-71162A607FEA}"/>
          </ac:spMkLst>
        </pc:spChg>
        <pc:spChg chg="add mod ord">
          <ac:chgData name="Baciu Lupascu, Raluca" userId="68b8499e-70c7-46a5-a7f5-08d4a146f234" providerId="ADAL" clId="{D306BB26-EB9F-4E01-A290-0111A7EB9CD4}" dt="2022-03-09T13:37:38.026" v="2166" actId="26606"/>
          <ac:spMkLst>
            <pc:docMk/>
            <pc:sldMk cId="1257319759" sldId="353"/>
            <ac:spMk id="14" creationId="{33D5C031-AD44-4FA4-B920-A2004996FE0D}"/>
          </ac:spMkLst>
        </pc:spChg>
        <pc:spChg chg="add mod ord">
          <ac:chgData name="Baciu Lupascu, Raluca" userId="68b8499e-70c7-46a5-a7f5-08d4a146f234" providerId="ADAL" clId="{D306BB26-EB9F-4E01-A290-0111A7EB9CD4}" dt="2022-03-09T13:37:38.026" v="2166" actId="26606"/>
          <ac:spMkLst>
            <pc:docMk/>
            <pc:sldMk cId="1257319759" sldId="353"/>
            <ac:spMk id="15" creationId="{04CECF16-2328-4492-A22E-7D96B22F50CD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7:12.093" v="2528" actId="14100"/>
        <pc:sldMkLst>
          <pc:docMk/>
          <pc:sldMk cId="517459174" sldId="354"/>
        </pc:sldMkLst>
        <pc:spChg chg="add del mod">
          <ac:chgData name="Baciu Lupascu, Raluca" userId="68b8499e-70c7-46a5-a7f5-08d4a146f234" providerId="ADAL" clId="{D306BB26-EB9F-4E01-A290-0111A7EB9CD4}" dt="2022-03-09T13:35:47.313" v="5" actId="6264"/>
          <ac:spMkLst>
            <pc:docMk/>
            <pc:sldMk cId="517459174" sldId="354"/>
            <ac:spMk id="2" creationId="{8DFF4922-8A5E-444C-B58F-3E7DD89B03ED}"/>
          </ac:spMkLst>
        </pc:spChg>
        <pc:spChg chg="mod ord">
          <ac:chgData name="Baciu Lupascu, Raluca" userId="68b8499e-70c7-46a5-a7f5-08d4a146f234" providerId="ADAL" clId="{D306BB26-EB9F-4E01-A290-0111A7EB9CD4}" dt="2022-03-09T13:57:12.093" v="2528" actId="14100"/>
          <ac:spMkLst>
            <pc:docMk/>
            <pc:sldMk cId="517459174" sldId="354"/>
            <ac:spMk id="3" creationId="{739710DD-7129-462A-A652-D6CB07EB686E}"/>
          </ac:spMkLst>
        </pc:spChg>
        <pc:spChg chg="del mod ord">
          <ac:chgData name="Baciu Lupascu, Raluca" userId="68b8499e-70c7-46a5-a7f5-08d4a146f234" providerId="ADAL" clId="{D306BB26-EB9F-4E01-A290-0111A7EB9CD4}" dt="2022-03-09T13:35:48.372" v="127"/>
          <ac:spMkLst>
            <pc:docMk/>
            <pc:sldMk cId="517459174" sldId="354"/>
            <ac:spMk id="4" creationId="{8697EAD2-2FAD-4E9D-9099-A35824ECEF87}"/>
          </ac:spMkLst>
        </pc:spChg>
        <pc:spChg chg="del mod ord">
          <ac:chgData name="Baciu Lupascu, Raluca" userId="68b8499e-70c7-46a5-a7f5-08d4a146f234" providerId="ADAL" clId="{D306BB26-EB9F-4E01-A290-0111A7EB9CD4}" dt="2022-03-09T13:35:48.372" v="129"/>
          <ac:spMkLst>
            <pc:docMk/>
            <pc:sldMk cId="517459174" sldId="354"/>
            <ac:spMk id="5" creationId="{C09C3571-20D2-4320-97B1-CB5CACF5F99E}"/>
          </ac:spMkLst>
        </pc:spChg>
        <pc:spChg chg="del mod ord">
          <ac:chgData name="Baciu Lupascu, Raluca" userId="68b8499e-70c7-46a5-a7f5-08d4a146f234" providerId="ADAL" clId="{D306BB26-EB9F-4E01-A290-0111A7EB9CD4}" dt="2022-03-09T13:35:48.372" v="128"/>
          <ac:spMkLst>
            <pc:docMk/>
            <pc:sldMk cId="517459174" sldId="354"/>
            <ac:spMk id="6" creationId="{D687700E-4FF5-4B3C-A578-B7B28365E5BD}"/>
          </ac:spMkLst>
        </pc:spChg>
        <pc:spChg chg="add del mod">
          <ac:chgData name="Baciu Lupascu, Raluca" userId="68b8499e-70c7-46a5-a7f5-08d4a146f234" providerId="ADAL" clId="{D306BB26-EB9F-4E01-A290-0111A7EB9CD4}" dt="2022-03-09T13:35:47.313" v="5" actId="6264"/>
          <ac:spMkLst>
            <pc:docMk/>
            <pc:sldMk cId="517459174" sldId="354"/>
            <ac:spMk id="7" creationId="{CCFE1180-5DB2-412B-B549-90C6AFE51903}"/>
          </ac:spMkLst>
        </pc:spChg>
        <pc:spChg chg="add del mod">
          <ac:chgData name="Baciu Lupascu, Raluca" userId="68b8499e-70c7-46a5-a7f5-08d4a146f234" providerId="ADAL" clId="{D306BB26-EB9F-4E01-A290-0111A7EB9CD4}" dt="2022-03-09T13:35:47.313" v="5" actId="6264"/>
          <ac:spMkLst>
            <pc:docMk/>
            <pc:sldMk cId="517459174" sldId="354"/>
            <ac:spMk id="9" creationId="{B9A32214-7316-48C3-816C-1BA6B1DED463}"/>
          </ac:spMkLst>
        </pc:spChg>
        <pc:spChg chg="add del mod">
          <ac:chgData name="Baciu Lupascu, Raluca" userId="68b8499e-70c7-46a5-a7f5-08d4a146f234" providerId="ADAL" clId="{D306BB26-EB9F-4E01-A290-0111A7EB9CD4}" dt="2022-03-09T13:35:47.313" v="5" actId="6264"/>
          <ac:spMkLst>
            <pc:docMk/>
            <pc:sldMk cId="517459174" sldId="354"/>
            <ac:spMk id="10" creationId="{7F2E23F9-6A28-4BCD-B5A9-2116F5ED53FF}"/>
          </ac:spMkLst>
        </pc:spChg>
        <pc:spChg chg="add del mod ord">
          <ac:chgData name="Baciu Lupascu, Raluca" userId="68b8499e-70c7-46a5-a7f5-08d4a146f234" providerId="ADAL" clId="{D306BB26-EB9F-4E01-A290-0111A7EB9CD4}" dt="2022-03-09T13:35:48.390" v="134"/>
          <ac:spMkLst>
            <pc:docMk/>
            <pc:sldMk cId="517459174" sldId="354"/>
            <ac:spMk id="11" creationId="{49757AF3-FB00-4492-A5CF-9C29DB82E844}"/>
          </ac:spMkLst>
        </pc:spChg>
        <pc:spChg chg="add del mod">
          <ac:chgData name="Baciu Lupascu, Raluca" userId="68b8499e-70c7-46a5-a7f5-08d4a146f234" providerId="ADAL" clId="{D306BB26-EB9F-4E01-A290-0111A7EB9CD4}" dt="2022-03-09T13:39:21.248" v="2173" actId="26606"/>
          <ac:spMkLst>
            <pc:docMk/>
            <pc:sldMk cId="517459174" sldId="354"/>
            <ac:spMk id="12" creationId="{CCB756BA-4084-4C0A-95C1-DEFDFB4F5C78}"/>
          </ac:spMkLst>
        </pc:spChg>
        <pc:spChg chg="add del mod">
          <ac:chgData name="Baciu Lupascu, Raluca" userId="68b8499e-70c7-46a5-a7f5-08d4a146f234" providerId="ADAL" clId="{D306BB26-EB9F-4E01-A290-0111A7EB9CD4}" dt="2022-03-09T13:35:56.336" v="1877"/>
          <ac:spMkLst>
            <pc:docMk/>
            <pc:sldMk cId="517459174" sldId="354"/>
            <ac:spMk id="13" creationId="{2D09C390-FB83-4D66-A996-644D66874C8C}"/>
          </ac:spMkLst>
        </pc:spChg>
        <pc:spChg chg="add mod">
          <ac:chgData name="Baciu Lupascu, Raluca" userId="68b8499e-70c7-46a5-a7f5-08d4a146f234" providerId="ADAL" clId="{D306BB26-EB9F-4E01-A290-0111A7EB9CD4}" dt="2022-03-09T13:39:21.248" v="2173" actId="26606"/>
          <ac:spMkLst>
            <pc:docMk/>
            <pc:sldMk cId="517459174" sldId="354"/>
            <ac:spMk id="14" creationId="{DCD5BEAB-ECF5-4329-B0E6-A1529023C564}"/>
          </ac:spMkLst>
        </pc:spChg>
        <pc:spChg chg="add mod">
          <ac:chgData name="Baciu Lupascu, Raluca" userId="68b8499e-70c7-46a5-a7f5-08d4a146f234" providerId="ADAL" clId="{D306BB26-EB9F-4E01-A290-0111A7EB9CD4}" dt="2022-03-09T13:39:21.248" v="2173" actId="26606"/>
          <ac:spMkLst>
            <pc:docMk/>
            <pc:sldMk cId="517459174" sldId="354"/>
            <ac:spMk id="15" creationId="{D08B70F2-C07C-4863-A2FA-2D6ABB34B3BC}"/>
          </ac:spMkLst>
        </pc:spChg>
        <pc:spChg chg="add mod ord">
          <ac:chgData name="Baciu Lupascu, Raluca" userId="68b8499e-70c7-46a5-a7f5-08d4a146f234" providerId="ADAL" clId="{D306BB26-EB9F-4E01-A290-0111A7EB9CD4}" dt="2022-03-09T13:39:21.248" v="2173" actId="26606"/>
          <ac:spMkLst>
            <pc:docMk/>
            <pc:sldMk cId="517459174" sldId="354"/>
            <ac:spMk id="16" creationId="{A534E807-7F02-456B-8359-446C62294E07}"/>
          </ac:spMkLst>
        </pc:spChg>
        <pc:picChg chg="mod">
          <ac:chgData name="Baciu Lupascu, Raluca" userId="68b8499e-70c7-46a5-a7f5-08d4a146f234" providerId="ADAL" clId="{D306BB26-EB9F-4E01-A290-0111A7EB9CD4}" dt="2022-03-09T13:39:21.248" v="2173" actId="26606"/>
          <ac:picMkLst>
            <pc:docMk/>
            <pc:sldMk cId="517459174" sldId="354"/>
            <ac:picMk id="8" creationId="{D1052619-B0EF-4C01-B26C-CAAEC2D0DC24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7:08.550" v="2527" actId="14100"/>
        <pc:sldMkLst>
          <pc:docMk/>
          <pc:sldMk cId="754141458" sldId="355"/>
        </pc:sldMkLst>
        <pc:spChg chg="add del mod">
          <ac:chgData name="Baciu Lupascu, Raluca" userId="68b8499e-70c7-46a5-a7f5-08d4a146f234" providerId="ADAL" clId="{D306BB26-EB9F-4E01-A290-0111A7EB9CD4}" dt="2022-03-09T13:35:47.331" v="6" actId="6264"/>
          <ac:spMkLst>
            <pc:docMk/>
            <pc:sldMk cId="754141458" sldId="355"/>
            <ac:spMk id="2" creationId="{2E70CD3B-9D74-495B-BFE1-276BD63B09B8}"/>
          </ac:spMkLst>
        </pc:spChg>
        <pc:spChg chg="mod ord">
          <ac:chgData name="Baciu Lupascu, Raluca" userId="68b8499e-70c7-46a5-a7f5-08d4a146f234" providerId="ADAL" clId="{D306BB26-EB9F-4E01-A290-0111A7EB9CD4}" dt="2022-03-09T13:57:08.550" v="2527" actId="14100"/>
          <ac:spMkLst>
            <pc:docMk/>
            <pc:sldMk cId="754141458" sldId="355"/>
            <ac:spMk id="3" creationId="{EAA656F0-A69B-4B89-AF7D-5514AB038D4A}"/>
          </ac:spMkLst>
        </pc:spChg>
        <pc:spChg chg="del mod ord">
          <ac:chgData name="Baciu Lupascu, Raluca" userId="68b8499e-70c7-46a5-a7f5-08d4a146f234" providerId="ADAL" clId="{D306BB26-EB9F-4E01-A290-0111A7EB9CD4}" dt="2022-03-09T13:35:48.392" v="139"/>
          <ac:spMkLst>
            <pc:docMk/>
            <pc:sldMk cId="754141458" sldId="355"/>
            <ac:spMk id="4" creationId="{DABFC8C1-C738-481E-8724-4A3D5708DCF4}"/>
          </ac:spMkLst>
        </pc:spChg>
        <pc:spChg chg="del mod ord">
          <ac:chgData name="Baciu Lupascu, Raluca" userId="68b8499e-70c7-46a5-a7f5-08d4a146f234" providerId="ADAL" clId="{D306BB26-EB9F-4E01-A290-0111A7EB9CD4}" dt="2022-03-09T13:35:48.392" v="141"/>
          <ac:spMkLst>
            <pc:docMk/>
            <pc:sldMk cId="754141458" sldId="355"/>
            <ac:spMk id="5" creationId="{FADF67AB-AB0D-4B9B-8CEA-6518491883CA}"/>
          </ac:spMkLst>
        </pc:spChg>
        <pc:spChg chg="del mod ord">
          <ac:chgData name="Baciu Lupascu, Raluca" userId="68b8499e-70c7-46a5-a7f5-08d4a146f234" providerId="ADAL" clId="{D306BB26-EB9F-4E01-A290-0111A7EB9CD4}" dt="2022-03-09T13:35:48.392" v="140"/>
          <ac:spMkLst>
            <pc:docMk/>
            <pc:sldMk cId="754141458" sldId="355"/>
            <ac:spMk id="6" creationId="{E96BE6E3-C1C9-4322-AB44-E0C4D3F57B05}"/>
          </ac:spMkLst>
        </pc:spChg>
        <pc:spChg chg="add del mod">
          <ac:chgData name="Baciu Lupascu, Raluca" userId="68b8499e-70c7-46a5-a7f5-08d4a146f234" providerId="ADAL" clId="{D306BB26-EB9F-4E01-A290-0111A7EB9CD4}" dt="2022-03-09T13:35:47.331" v="6" actId="6264"/>
          <ac:spMkLst>
            <pc:docMk/>
            <pc:sldMk cId="754141458" sldId="355"/>
            <ac:spMk id="7" creationId="{0DB384FB-2E9F-4C54-96EC-D5886B616BAD}"/>
          </ac:spMkLst>
        </pc:spChg>
        <pc:spChg chg="add del mod">
          <ac:chgData name="Baciu Lupascu, Raluca" userId="68b8499e-70c7-46a5-a7f5-08d4a146f234" providerId="ADAL" clId="{D306BB26-EB9F-4E01-A290-0111A7EB9CD4}" dt="2022-03-09T13:35:47.331" v="6" actId="6264"/>
          <ac:spMkLst>
            <pc:docMk/>
            <pc:sldMk cId="754141458" sldId="355"/>
            <ac:spMk id="9" creationId="{6BC579AA-096C-474C-B7BE-A21EF1FE0E81}"/>
          </ac:spMkLst>
        </pc:spChg>
        <pc:spChg chg="add del mod">
          <ac:chgData name="Baciu Lupascu, Raluca" userId="68b8499e-70c7-46a5-a7f5-08d4a146f234" providerId="ADAL" clId="{D306BB26-EB9F-4E01-A290-0111A7EB9CD4}" dt="2022-03-09T13:35:47.331" v="6" actId="6264"/>
          <ac:spMkLst>
            <pc:docMk/>
            <pc:sldMk cId="754141458" sldId="355"/>
            <ac:spMk id="10" creationId="{4D266C83-3A26-4BB3-B43C-F6DCCAB8200F}"/>
          </ac:spMkLst>
        </pc:spChg>
        <pc:spChg chg="add del mod ord">
          <ac:chgData name="Baciu Lupascu, Raluca" userId="68b8499e-70c7-46a5-a7f5-08d4a146f234" providerId="ADAL" clId="{D306BB26-EB9F-4E01-A290-0111A7EB9CD4}" dt="2022-03-09T13:35:48.409" v="146"/>
          <ac:spMkLst>
            <pc:docMk/>
            <pc:sldMk cId="754141458" sldId="355"/>
            <ac:spMk id="11" creationId="{F94AEB61-9773-42FB-8FDB-91E2DAEBABAC}"/>
          </ac:spMkLst>
        </pc:spChg>
        <pc:spChg chg="add del mod">
          <ac:chgData name="Baciu Lupascu, Raluca" userId="68b8499e-70c7-46a5-a7f5-08d4a146f234" providerId="ADAL" clId="{D306BB26-EB9F-4E01-A290-0111A7EB9CD4}" dt="2022-03-09T13:39:31.687" v="2174" actId="26606"/>
          <ac:spMkLst>
            <pc:docMk/>
            <pc:sldMk cId="754141458" sldId="355"/>
            <ac:spMk id="12" creationId="{D47FCB0F-ADEC-49B9-BCF6-712FC96C24B2}"/>
          </ac:spMkLst>
        </pc:spChg>
        <pc:spChg chg="add del mod">
          <ac:chgData name="Baciu Lupascu, Raluca" userId="68b8499e-70c7-46a5-a7f5-08d4a146f234" providerId="ADAL" clId="{D306BB26-EB9F-4E01-A290-0111A7EB9CD4}" dt="2022-03-09T13:35:56.339" v="1882"/>
          <ac:spMkLst>
            <pc:docMk/>
            <pc:sldMk cId="754141458" sldId="355"/>
            <ac:spMk id="13" creationId="{E2A850B7-158D-4B2A-BE0E-A0ECAC865708}"/>
          </ac:spMkLst>
        </pc:spChg>
        <pc:spChg chg="add mod">
          <ac:chgData name="Baciu Lupascu, Raluca" userId="68b8499e-70c7-46a5-a7f5-08d4a146f234" providerId="ADAL" clId="{D306BB26-EB9F-4E01-A290-0111A7EB9CD4}" dt="2022-03-09T13:39:31.687" v="2174" actId="26606"/>
          <ac:spMkLst>
            <pc:docMk/>
            <pc:sldMk cId="754141458" sldId="355"/>
            <ac:spMk id="14" creationId="{7F6C27CB-873C-4735-9B63-B511C0EDC9E5}"/>
          </ac:spMkLst>
        </pc:spChg>
        <pc:spChg chg="add mod">
          <ac:chgData name="Baciu Lupascu, Raluca" userId="68b8499e-70c7-46a5-a7f5-08d4a146f234" providerId="ADAL" clId="{D306BB26-EB9F-4E01-A290-0111A7EB9CD4}" dt="2022-03-09T13:39:31.687" v="2174" actId="26606"/>
          <ac:spMkLst>
            <pc:docMk/>
            <pc:sldMk cId="754141458" sldId="355"/>
            <ac:spMk id="15" creationId="{A806081A-EA6E-463F-AE3F-1EFDFB3A3E52}"/>
          </ac:spMkLst>
        </pc:spChg>
        <pc:spChg chg="add mod ord">
          <ac:chgData name="Baciu Lupascu, Raluca" userId="68b8499e-70c7-46a5-a7f5-08d4a146f234" providerId="ADAL" clId="{D306BB26-EB9F-4E01-A290-0111A7EB9CD4}" dt="2022-03-09T13:39:31.687" v="2174" actId="26606"/>
          <ac:spMkLst>
            <pc:docMk/>
            <pc:sldMk cId="754141458" sldId="355"/>
            <ac:spMk id="16" creationId="{8E9B8EFC-C8E1-43B4-9284-FFFAD0E6D8B6}"/>
          </ac:spMkLst>
        </pc:spChg>
        <pc:picChg chg="mod">
          <ac:chgData name="Baciu Lupascu, Raluca" userId="68b8499e-70c7-46a5-a7f5-08d4a146f234" providerId="ADAL" clId="{D306BB26-EB9F-4E01-A290-0111A7EB9CD4}" dt="2022-03-09T13:39:31.687" v="2174" actId="26606"/>
          <ac:picMkLst>
            <pc:docMk/>
            <pc:sldMk cId="754141458" sldId="355"/>
            <ac:picMk id="8" creationId="{FA1EB78E-2B2A-482D-B91D-8A6A16BC6ED9}"/>
          </ac:picMkLst>
        </pc:pic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3:45:15.897" v="2209" actId="47"/>
        <pc:sldMkLst>
          <pc:docMk/>
          <pc:sldMk cId="1381052835" sldId="356"/>
        </pc:sldMkLst>
        <pc:spChg chg="add del mod">
          <ac:chgData name="Baciu Lupascu, Raluca" userId="68b8499e-70c7-46a5-a7f5-08d4a146f234" providerId="ADAL" clId="{D306BB26-EB9F-4E01-A290-0111A7EB9CD4}" dt="2022-03-09T13:35:47.426" v="10" actId="6264"/>
          <ac:spMkLst>
            <pc:docMk/>
            <pc:sldMk cId="1381052835" sldId="356"/>
            <ac:spMk id="2" creationId="{4E90199E-BFA9-48DC-A551-2968AD6A27B0}"/>
          </ac:spMkLst>
        </pc:spChg>
        <pc:spChg chg="mod ord">
          <ac:chgData name="Baciu Lupascu, Raluca" userId="68b8499e-70c7-46a5-a7f5-08d4a146f234" providerId="ADAL" clId="{D306BB26-EB9F-4E01-A290-0111A7EB9CD4}" dt="2022-03-09T13:43:13.808" v="2193" actId="700"/>
          <ac:spMkLst>
            <pc:docMk/>
            <pc:sldMk cId="1381052835" sldId="356"/>
            <ac:spMk id="3" creationId="{955ED312-0D02-425F-A05D-9C76DA8BBA88}"/>
          </ac:spMkLst>
        </pc:spChg>
        <pc:spChg chg="del mod ord">
          <ac:chgData name="Baciu Lupascu, Raluca" userId="68b8499e-70c7-46a5-a7f5-08d4a146f234" providerId="ADAL" clId="{D306BB26-EB9F-4E01-A290-0111A7EB9CD4}" dt="2022-03-09T13:35:48.464" v="187"/>
          <ac:spMkLst>
            <pc:docMk/>
            <pc:sldMk cId="1381052835" sldId="356"/>
            <ac:spMk id="4" creationId="{DEEA03CC-8968-4D3C-B2FE-67426E3DB63A}"/>
          </ac:spMkLst>
        </pc:spChg>
        <pc:spChg chg="del mod ord">
          <ac:chgData name="Baciu Lupascu, Raluca" userId="68b8499e-70c7-46a5-a7f5-08d4a146f234" providerId="ADAL" clId="{D306BB26-EB9F-4E01-A290-0111A7EB9CD4}" dt="2022-03-09T13:35:48.464" v="189"/>
          <ac:spMkLst>
            <pc:docMk/>
            <pc:sldMk cId="1381052835" sldId="356"/>
            <ac:spMk id="5" creationId="{E436EE44-2845-478F-A113-D163151DEF9E}"/>
          </ac:spMkLst>
        </pc:spChg>
        <pc:spChg chg="del mod ord">
          <ac:chgData name="Baciu Lupascu, Raluca" userId="68b8499e-70c7-46a5-a7f5-08d4a146f234" providerId="ADAL" clId="{D306BB26-EB9F-4E01-A290-0111A7EB9CD4}" dt="2022-03-09T13:35:48.464" v="188"/>
          <ac:spMkLst>
            <pc:docMk/>
            <pc:sldMk cId="1381052835" sldId="356"/>
            <ac:spMk id="6" creationId="{C188B791-7A97-4194-8E76-9E06385AF09D}"/>
          </ac:spMkLst>
        </pc:spChg>
        <pc:spChg chg="add del mod">
          <ac:chgData name="Baciu Lupascu, Raluca" userId="68b8499e-70c7-46a5-a7f5-08d4a146f234" providerId="ADAL" clId="{D306BB26-EB9F-4E01-A290-0111A7EB9CD4}" dt="2022-03-09T13:35:47.426" v="10" actId="6264"/>
          <ac:spMkLst>
            <pc:docMk/>
            <pc:sldMk cId="1381052835" sldId="356"/>
            <ac:spMk id="11" creationId="{4BE62D11-719D-4DCD-8C58-5C89535BBD63}"/>
          </ac:spMkLst>
        </pc:spChg>
        <pc:spChg chg="add del mod">
          <ac:chgData name="Baciu Lupascu, Raluca" userId="68b8499e-70c7-46a5-a7f5-08d4a146f234" providerId="ADAL" clId="{D306BB26-EB9F-4E01-A290-0111A7EB9CD4}" dt="2022-03-09T13:35:47.426" v="10" actId="6264"/>
          <ac:spMkLst>
            <pc:docMk/>
            <pc:sldMk cId="1381052835" sldId="356"/>
            <ac:spMk id="12" creationId="{1D0BBFEF-9F9B-448B-9A63-0B7D62EBDC19}"/>
          </ac:spMkLst>
        </pc:spChg>
        <pc:spChg chg="add del mod">
          <ac:chgData name="Baciu Lupascu, Raluca" userId="68b8499e-70c7-46a5-a7f5-08d4a146f234" providerId="ADAL" clId="{D306BB26-EB9F-4E01-A290-0111A7EB9CD4}" dt="2022-03-09T13:35:47.426" v="10" actId="6264"/>
          <ac:spMkLst>
            <pc:docMk/>
            <pc:sldMk cId="1381052835" sldId="356"/>
            <ac:spMk id="14" creationId="{670222DC-0EE4-48F4-9F49-5E1FCFE9484E}"/>
          </ac:spMkLst>
        </pc:spChg>
        <pc:spChg chg="add del mod ord">
          <ac:chgData name="Baciu Lupascu, Raluca" userId="68b8499e-70c7-46a5-a7f5-08d4a146f234" providerId="ADAL" clId="{D306BB26-EB9F-4E01-A290-0111A7EB9CD4}" dt="2022-03-09T13:35:48.478" v="194"/>
          <ac:spMkLst>
            <pc:docMk/>
            <pc:sldMk cId="1381052835" sldId="356"/>
            <ac:spMk id="17" creationId="{2253D6C4-C3C2-4E61-AFAB-8ACE311AD6E8}"/>
          </ac:spMkLst>
        </pc:spChg>
        <pc:spChg chg="add del mod ord">
          <ac:chgData name="Baciu Lupascu, Raluca" userId="68b8499e-70c7-46a5-a7f5-08d4a146f234" providerId="ADAL" clId="{D306BB26-EB9F-4E01-A290-0111A7EB9CD4}" dt="2022-03-09T13:43:13.808" v="2193" actId="700"/>
          <ac:spMkLst>
            <pc:docMk/>
            <pc:sldMk cId="1381052835" sldId="356"/>
            <ac:spMk id="18" creationId="{03C7F189-C76D-4AEB-B5AF-E84DD5952915}"/>
          </ac:spMkLst>
        </pc:spChg>
        <pc:spChg chg="add del mod">
          <ac:chgData name="Baciu Lupascu, Raluca" userId="68b8499e-70c7-46a5-a7f5-08d4a146f234" providerId="ADAL" clId="{D306BB26-EB9F-4E01-A290-0111A7EB9CD4}" dt="2022-03-09T13:35:56.346" v="1902"/>
          <ac:spMkLst>
            <pc:docMk/>
            <pc:sldMk cId="1381052835" sldId="356"/>
            <ac:spMk id="20" creationId="{5D2FC533-16C7-449D-A4D7-791B35EBFB2A}"/>
          </ac:spMkLst>
        </pc:spChg>
        <pc:spChg chg="add mod ord">
          <ac:chgData name="Baciu Lupascu, Raluca" userId="68b8499e-70c7-46a5-a7f5-08d4a146f234" providerId="ADAL" clId="{D306BB26-EB9F-4E01-A290-0111A7EB9CD4}" dt="2022-03-09T13:43:13.808" v="2193" actId="700"/>
          <ac:spMkLst>
            <pc:docMk/>
            <pc:sldMk cId="1381052835" sldId="356"/>
            <ac:spMk id="22" creationId="{DBFF68A6-3BC7-4C81-BBF0-FB5D1AB6784B}"/>
          </ac:spMkLst>
        </pc:spChg>
        <pc:spChg chg="add mod ord">
          <ac:chgData name="Baciu Lupascu, Raluca" userId="68b8499e-70c7-46a5-a7f5-08d4a146f234" providerId="ADAL" clId="{D306BB26-EB9F-4E01-A290-0111A7EB9CD4}" dt="2022-03-09T13:43:13.808" v="2193" actId="700"/>
          <ac:spMkLst>
            <pc:docMk/>
            <pc:sldMk cId="1381052835" sldId="356"/>
            <ac:spMk id="23" creationId="{7529AEE4-C6E4-4A76-B724-17D3FADB51E4}"/>
          </ac:spMkLst>
        </pc:spChg>
        <pc:spChg chg="add mod ord">
          <ac:chgData name="Baciu Lupascu, Raluca" userId="68b8499e-70c7-46a5-a7f5-08d4a146f234" providerId="ADAL" clId="{D306BB26-EB9F-4E01-A290-0111A7EB9CD4}" dt="2022-03-09T13:43:13.808" v="2193" actId="700"/>
          <ac:spMkLst>
            <pc:docMk/>
            <pc:sldMk cId="1381052835" sldId="356"/>
            <ac:spMk id="24" creationId="{437545FD-6808-4365-B285-F5644015554F}"/>
          </ac:spMkLst>
        </pc:spChg>
        <pc:spChg chg="add del mod ord">
          <ac:chgData name="Baciu Lupascu, Raluca" userId="68b8499e-70c7-46a5-a7f5-08d4a146f234" providerId="ADAL" clId="{D306BB26-EB9F-4E01-A290-0111A7EB9CD4}" dt="2022-03-09T13:43:33.299" v="2195" actId="478"/>
          <ac:spMkLst>
            <pc:docMk/>
            <pc:sldMk cId="1381052835" sldId="356"/>
            <ac:spMk id="25" creationId="{1314C836-8833-4BA5-8A2E-EEA0AD3E9EA6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6:44.732" v="2522" actId="14100"/>
        <pc:sldMkLst>
          <pc:docMk/>
          <pc:sldMk cId="468962734" sldId="357"/>
        </pc:sldMkLst>
        <pc:spChg chg="mod ord">
          <ac:chgData name="Baciu Lupascu, Raluca" userId="68b8499e-70c7-46a5-a7f5-08d4a146f234" providerId="ADAL" clId="{D306BB26-EB9F-4E01-A290-0111A7EB9CD4}" dt="2022-03-09T13:56:44.732" v="2522" actId="14100"/>
          <ac:spMkLst>
            <pc:docMk/>
            <pc:sldMk cId="468962734" sldId="357"/>
            <ac:spMk id="2" creationId="{9F376112-8C99-446B-A71E-6C1B89DBA111}"/>
          </ac:spMkLst>
        </pc:spChg>
        <pc:spChg chg="mod ord">
          <ac:chgData name="Baciu Lupascu, Raluca" userId="68b8499e-70c7-46a5-a7f5-08d4a146f234" providerId="ADAL" clId="{D306BB26-EB9F-4E01-A290-0111A7EB9CD4}" dt="2022-03-09T13:56:41.637" v="2521" actId="14100"/>
          <ac:spMkLst>
            <pc:docMk/>
            <pc:sldMk cId="468962734" sldId="357"/>
            <ac:spMk id="3" creationId="{95818648-4931-48D0-801D-8CEC2C78C15C}"/>
          </ac:spMkLst>
        </pc:spChg>
        <pc:spChg chg="del mod ord">
          <ac:chgData name="Baciu Lupascu, Raluca" userId="68b8499e-70c7-46a5-a7f5-08d4a146f234" providerId="ADAL" clId="{D306BB26-EB9F-4E01-A290-0111A7EB9CD4}" dt="2022-03-09T13:35:48.447" v="175"/>
          <ac:spMkLst>
            <pc:docMk/>
            <pc:sldMk cId="468962734" sldId="357"/>
            <ac:spMk id="4" creationId="{CB30C3D4-7E25-47BE-8D53-476A9852BBB2}"/>
          </ac:spMkLst>
        </pc:spChg>
        <pc:spChg chg="del mod ord">
          <ac:chgData name="Baciu Lupascu, Raluca" userId="68b8499e-70c7-46a5-a7f5-08d4a146f234" providerId="ADAL" clId="{D306BB26-EB9F-4E01-A290-0111A7EB9CD4}" dt="2022-03-09T13:35:48.447" v="177"/>
          <ac:spMkLst>
            <pc:docMk/>
            <pc:sldMk cId="468962734" sldId="357"/>
            <ac:spMk id="5" creationId="{09E9AFD2-C620-46B8-B5E2-CC8373F4D4E9}"/>
          </ac:spMkLst>
        </pc:spChg>
        <pc:spChg chg="del mod ord">
          <ac:chgData name="Baciu Lupascu, Raluca" userId="68b8499e-70c7-46a5-a7f5-08d4a146f234" providerId="ADAL" clId="{D306BB26-EB9F-4E01-A290-0111A7EB9CD4}" dt="2022-03-09T13:35:48.447" v="176"/>
          <ac:spMkLst>
            <pc:docMk/>
            <pc:sldMk cId="468962734" sldId="357"/>
            <ac:spMk id="6" creationId="{7730E1F6-2D8D-440C-B429-6D9110E68EAE}"/>
          </ac:spMkLst>
        </pc:spChg>
        <pc:spChg chg="add del mod">
          <ac:chgData name="Baciu Lupascu, Raluca" userId="68b8499e-70c7-46a5-a7f5-08d4a146f234" providerId="ADAL" clId="{D306BB26-EB9F-4E01-A290-0111A7EB9CD4}" dt="2022-03-09T13:35:47.405" v="9" actId="6264"/>
          <ac:spMkLst>
            <pc:docMk/>
            <pc:sldMk cId="468962734" sldId="357"/>
            <ac:spMk id="7" creationId="{54F55584-B1B4-4CDF-A809-47E86DE8CAFE}"/>
          </ac:spMkLst>
        </pc:spChg>
        <pc:spChg chg="add del mod">
          <ac:chgData name="Baciu Lupascu, Raluca" userId="68b8499e-70c7-46a5-a7f5-08d4a146f234" providerId="ADAL" clId="{D306BB26-EB9F-4E01-A290-0111A7EB9CD4}" dt="2022-03-09T13:35:47.405" v="9" actId="6264"/>
          <ac:spMkLst>
            <pc:docMk/>
            <pc:sldMk cId="468962734" sldId="357"/>
            <ac:spMk id="8" creationId="{E140F426-A82E-46EF-8069-9B2CBDEE163B}"/>
          </ac:spMkLst>
        </pc:spChg>
        <pc:spChg chg="add del mod">
          <ac:chgData name="Baciu Lupascu, Raluca" userId="68b8499e-70c7-46a5-a7f5-08d4a146f234" providerId="ADAL" clId="{D306BB26-EB9F-4E01-A290-0111A7EB9CD4}" dt="2022-03-09T13:35:47.405" v="9" actId="6264"/>
          <ac:spMkLst>
            <pc:docMk/>
            <pc:sldMk cId="468962734" sldId="357"/>
            <ac:spMk id="9" creationId="{0F3F012B-86F8-4560-A31F-07461A5B6787}"/>
          </ac:spMkLst>
        </pc:spChg>
        <pc:spChg chg="add del mod">
          <ac:chgData name="Baciu Lupascu, Raluca" userId="68b8499e-70c7-46a5-a7f5-08d4a146f234" providerId="ADAL" clId="{D306BB26-EB9F-4E01-A290-0111A7EB9CD4}" dt="2022-03-09T13:35:47.405" v="9" actId="6264"/>
          <ac:spMkLst>
            <pc:docMk/>
            <pc:sldMk cId="468962734" sldId="357"/>
            <ac:spMk id="10" creationId="{A3930E1A-18D8-44F3-BD13-A93A50B8435A}"/>
          </ac:spMkLst>
        </pc:spChg>
        <pc:spChg chg="add del mod">
          <ac:chgData name="Baciu Lupascu, Raluca" userId="68b8499e-70c7-46a5-a7f5-08d4a146f234" providerId="ADAL" clId="{D306BB26-EB9F-4E01-A290-0111A7EB9CD4}" dt="2022-03-09T13:35:47.405" v="9" actId="6264"/>
          <ac:spMkLst>
            <pc:docMk/>
            <pc:sldMk cId="468962734" sldId="357"/>
            <ac:spMk id="11" creationId="{D5B9F43D-CAE7-4E34-BEDA-27400925EF60}"/>
          </ac:spMkLst>
        </pc:spChg>
        <pc:spChg chg="add del mod">
          <ac:chgData name="Baciu Lupascu, Raluca" userId="68b8499e-70c7-46a5-a7f5-08d4a146f234" providerId="ADAL" clId="{D306BB26-EB9F-4E01-A290-0111A7EB9CD4}" dt="2022-03-09T13:35:56.344" v="1897"/>
          <ac:spMkLst>
            <pc:docMk/>
            <pc:sldMk cId="468962734" sldId="357"/>
            <ac:spMk id="12" creationId="{3BDDC403-8D61-46C2-8CB7-AB696D3F477E}"/>
          </ac:spMkLst>
        </pc:spChg>
        <pc:spChg chg="add mod">
          <ac:chgData name="Baciu Lupascu, Raluca" userId="68b8499e-70c7-46a5-a7f5-08d4a146f234" providerId="ADAL" clId="{D306BB26-EB9F-4E01-A290-0111A7EB9CD4}" dt="2022-03-09T13:42:59.582" v="2192" actId="26606"/>
          <ac:spMkLst>
            <pc:docMk/>
            <pc:sldMk cId="468962734" sldId="357"/>
            <ac:spMk id="13" creationId="{5EF33E6D-2A06-44C0-B380-AD9627E55817}"/>
          </ac:spMkLst>
        </pc:spChg>
        <pc:spChg chg="add mod">
          <ac:chgData name="Baciu Lupascu, Raluca" userId="68b8499e-70c7-46a5-a7f5-08d4a146f234" providerId="ADAL" clId="{D306BB26-EB9F-4E01-A290-0111A7EB9CD4}" dt="2022-03-09T13:42:59.582" v="2192" actId="26606"/>
          <ac:spMkLst>
            <pc:docMk/>
            <pc:sldMk cId="468962734" sldId="357"/>
            <ac:spMk id="14" creationId="{62B8581D-1F23-4632-851B-E04C24959525}"/>
          </ac:spMkLst>
        </pc:spChg>
        <pc:spChg chg="add mod ord">
          <ac:chgData name="Baciu Lupascu, Raluca" userId="68b8499e-70c7-46a5-a7f5-08d4a146f234" providerId="ADAL" clId="{D306BB26-EB9F-4E01-A290-0111A7EB9CD4}" dt="2022-03-09T13:42:59.582" v="2192" actId="26606"/>
          <ac:spMkLst>
            <pc:docMk/>
            <pc:sldMk cId="468962734" sldId="357"/>
            <ac:spMk id="15" creationId="{F54117B9-D74D-44F6-9A05-2F6C84348563}"/>
          </ac:spMkLst>
        </pc:sp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05:42.517" v="2637" actId="2696"/>
        <pc:sldMkLst>
          <pc:docMk/>
          <pc:sldMk cId="651601615" sldId="358"/>
        </pc:sldMkLst>
        <pc:spChg chg="mod ord">
          <ac:chgData name="Baciu Lupascu, Raluca" userId="68b8499e-70c7-46a5-a7f5-08d4a146f234" providerId="ADAL" clId="{D306BB26-EB9F-4E01-A290-0111A7EB9CD4}" dt="2022-03-09T14:05:42.192" v="2635" actId="12"/>
          <ac:spMkLst>
            <pc:docMk/>
            <pc:sldMk cId="651601615" sldId="358"/>
            <ac:spMk id="2" creationId="{409D53E8-EED6-45C9-A0D9-87F93495102A}"/>
          </ac:spMkLst>
        </pc:spChg>
        <pc:spChg chg="mod ord">
          <ac:chgData name="Baciu Lupascu, Raluca" userId="68b8499e-70c7-46a5-a7f5-08d4a146f234" providerId="ADAL" clId="{D306BB26-EB9F-4E01-A290-0111A7EB9CD4}" dt="2022-03-09T14:05:14.471" v="2630" actId="14100"/>
          <ac:spMkLst>
            <pc:docMk/>
            <pc:sldMk cId="651601615" sldId="358"/>
            <ac:spMk id="3" creationId="{5FE71C23-0667-491A-A1BD-0044E329EB31}"/>
          </ac:spMkLst>
        </pc:spChg>
        <pc:spChg chg="del mod ord">
          <ac:chgData name="Baciu Lupascu, Raluca" userId="68b8499e-70c7-46a5-a7f5-08d4a146f234" providerId="ADAL" clId="{D306BB26-EB9F-4E01-A290-0111A7EB9CD4}" dt="2022-03-09T13:35:48.482" v="199"/>
          <ac:spMkLst>
            <pc:docMk/>
            <pc:sldMk cId="651601615" sldId="358"/>
            <ac:spMk id="4" creationId="{758D2EDE-3F34-4A06-A660-8A4880C89E61}"/>
          </ac:spMkLst>
        </pc:spChg>
        <pc:spChg chg="del mod ord">
          <ac:chgData name="Baciu Lupascu, Raluca" userId="68b8499e-70c7-46a5-a7f5-08d4a146f234" providerId="ADAL" clId="{D306BB26-EB9F-4E01-A290-0111A7EB9CD4}" dt="2022-03-09T13:35:48.482" v="201"/>
          <ac:spMkLst>
            <pc:docMk/>
            <pc:sldMk cId="651601615" sldId="358"/>
            <ac:spMk id="5" creationId="{D8404FFE-0328-44B3-89CA-D12D6E7EC43E}"/>
          </ac:spMkLst>
        </pc:spChg>
        <pc:spChg chg="del mod ord">
          <ac:chgData name="Baciu Lupascu, Raluca" userId="68b8499e-70c7-46a5-a7f5-08d4a146f234" providerId="ADAL" clId="{D306BB26-EB9F-4E01-A290-0111A7EB9CD4}" dt="2022-03-09T13:35:48.482" v="200"/>
          <ac:spMkLst>
            <pc:docMk/>
            <pc:sldMk cId="651601615" sldId="358"/>
            <ac:spMk id="6" creationId="{0F6FDE8D-BB89-4855-8BF2-140F8C836AF5}"/>
          </ac:spMkLst>
        </pc:spChg>
        <pc:spChg chg="add del mod">
          <ac:chgData name="Baciu Lupascu, Raluca" userId="68b8499e-70c7-46a5-a7f5-08d4a146f234" providerId="ADAL" clId="{D306BB26-EB9F-4E01-A290-0111A7EB9CD4}" dt="2022-03-09T13:35:47.447" v="11" actId="6264"/>
          <ac:spMkLst>
            <pc:docMk/>
            <pc:sldMk cId="651601615" sldId="358"/>
            <ac:spMk id="9" creationId="{4BF0EEC4-793E-46E5-9B18-8BC7F4E274CB}"/>
          </ac:spMkLst>
        </pc:spChg>
        <pc:spChg chg="add del mod">
          <ac:chgData name="Baciu Lupascu, Raluca" userId="68b8499e-70c7-46a5-a7f5-08d4a146f234" providerId="ADAL" clId="{D306BB26-EB9F-4E01-A290-0111A7EB9CD4}" dt="2022-03-09T13:35:47.447" v="11" actId="6264"/>
          <ac:spMkLst>
            <pc:docMk/>
            <pc:sldMk cId="651601615" sldId="358"/>
            <ac:spMk id="10" creationId="{58EB0B27-8D2A-431F-9515-6A3A4D6EAF9A}"/>
          </ac:spMkLst>
        </pc:spChg>
        <pc:spChg chg="add del mod">
          <ac:chgData name="Baciu Lupascu, Raluca" userId="68b8499e-70c7-46a5-a7f5-08d4a146f234" providerId="ADAL" clId="{D306BB26-EB9F-4E01-A290-0111A7EB9CD4}" dt="2022-03-09T13:35:47.447" v="11" actId="6264"/>
          <ac:spMkLst>
            <pc:docMk/>
            <pc:sldMk cId="651601615" sldId="358"/>
            <ac:spMk id="11" creationId="{CA49FEAD-9AF3-4411-8251-E41BE3A0C69D}"/>
          </ac:spMkLst>
        </pc:spChg>
        <pc:spChg chg="add del mod">
          <ac:chgData name="Baciu Lupascu, Raluca" userId="68b8499e-70c7-46a5-a7f5-08d4a146f234" providerId="ADAL" clId="{D306BB26-EB9F-4E01-A290-0111A7EB9CD4}" dt="2022-03-09T13:35:47.447" v="11" actId="6264"/>
          <ac:spMkLst>
            <pc:docMk/>
            <pc:sldMk cId="651601615" sldId="358"/>
            <ac:spMk id="12" creationId="{CA703171-DDB2-4CCD-A20E-661191F76A16}"/>
          </ac:spMkLst>
        </pc:spChg>
        <pc:spChg chg="add del mod">
          <ac:chgData name="Baciu Lupascu, Raluca" userId="68b8499e-70c7-46a5-a7f5-08d4a146f234" providerId="ADAL" clId="{D306BB26-EB9F-4E01-A290-0111A7EB9CD4}" dt="2022-03-09T13:35:47.447" v="11" actId="6264"/>
          <ac:spMkLst>
            <pc:docMk/>
            <pc:sldMk cId="651601615" sldId="358"/>
            <ac:spMk id="13" creationId="{0ADF5FFF-2AFE-4650-B9DF-AE8BED75A55B}"/>
          </ac:spMkLst>
        </pc:spChg>
        <pc:spChg chg="add del mod">
          <ac:chgData name="Baciu Lupascu, Raluca" userId="68b8499e-70c7-46a5-a7f5-08d4a146f234" providerId="ADAL" clId="{D306BB26-EB9F-4E01-A290-0111A7EB9CD4}" dt="2022-03-09T13:35:56.348" v="1907"/>
          <ac:spMkLst>
            <pc:docMk/>
            <pc:sldMk cId="651601615" sldId="358"/>
            <ac:spMk id="14" creationId="{66257228-5065-4A6F-A7DA-50C77C74C9B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51601615" sldId="358"/>
            <ac:spMk id="15" creationId="{4C527742-7875-4F56-A817-07A09ED9A3E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51601615" sldId="358"/>
            <ac:spMk id="16" creationId="{B262E3DA-71A2-43AF-B6D8-E0FD912F80B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51601615" sldId="358"/>
            <ac:spMk id="17" creationId="{A7FC7C27-0A5D-409E-A10D-6C6952DB71A5}"/>
          </ac:spMkLst>
        </pc:sp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06:35.596" v="2653" actId="2696"/>
        <pc:sldMkLst>
          <pc:docMk/>
          <pc:sldMk cId="1418650535" sldId="359"/>
        </pc:sldMkLst>
        <pc:spChg chg="mod ord">
          <ac:chgData name="Baciu Lupascu, Raluca" userId="68b8499e-70c7-46a5-a7f5-08d4a146f234" providerId="ADAL" clId="{D306BB26-EB9F-4E01-A290-0111A7EB9CD4}" dt="2022-03-09T14:06:35.262" v="2651" actId="12"/>
          <ac:spMkLst>
            <pc:docMk/>
            <pc:sldMk cId="1418650535" sldId="359"/>
            <ac:spMk id="2" creationId="{8BAAF7B6-1B36-449A-9574-0DC08235D874}"/>
          </ac:spMkLst>
        </pc:spChg>
        <pc:spChg chg="mod ord">
          <ac:chgData name="Baciu Lupascu, Raluca" userId="68b8499e-70c7-46a5-a7f5-08d4a146f234" providerId="ADAL" clId="{D306BB26-EB9F-4E01-A290-0111A7EB9CD4}" dt="2022-03-09T14:02:37.900" v="2574" actId="14100"/>
          <ac:spMkLst>
            <pc:docMk/>
            <pc:sldMk cId="1418650535" sldId="359"/>
            <ac:spMk id="3" creationId="{D99ECF95-BC01-476F-9729-DD8BF5E761CF}"/>
          </ac:spMkLst>
        </pc:spChg>
        <pc:spChg chg="del mod ord">
          <ac:chgData name="Baciu Lupascu, Raluca" userId="68b8499e-70c7-46a5-a7f5-08d4a146f234" providerId="ADAL" clId="{D306BB26-EB9F-4E01-A290-0111A7EB9CD4}" dt="2022-03-09T13:35:48.499" v="211"/>
          <ac:spMkLst>
            <pc:docMk/>
            <pc:sldMk cId="1418650535" sldId="359"/>
            <ac:spMk id="4" creationId="{45248748-E1A8-494A-9BE4-5F2B11ADCE3E}"/>
          </ac:spMkLst>
        </pc:spChg>
        <pc:spChg chg="del mod ord">
          <ac:chgData name="Baciu Lupascu, Raluca" userId="68b8499e-70c7-46a5-a7f5-08d4a146f234" providerId="ADAL" clId="{D306BB26-EB9F-4E01-A290-0111A7EB9CD4}" dt="2022-03-09T13:35:48.499" v="213"/>
          <ac:spMkLst>
            <pc:docMk/>
            <pc:sldMk cId="1418650535" sldId="359"/>
            <ac:spMk id="5" creationId="{D13C5DEC-94DF-4EE5-8856-6C7B9240940B}"/>
          </ac:spMkLst>
        </pc:spChg>
        <pc:spChg chg="del mod ord">
          <ac:chgData name="Baciu Lupascu, Raluca" userId="68b8499e-70c7-46a5-a7f5-08d4a146f234" providerId="ADAL" clId="{D306BB26-EB9F-4E01-A290-0111A7EB9CD4}" dt="2022-03-09T13:35:48.499" v="212"/>
          <ac:spMkLst>
            <pc:docMk/>
            <pc:sldMk cId="1418650535" sldId="359"/>
            <ac:spMk id="6" creationId="{DF9B7DF8-6F2E-4E61-94D7-10E78E25F358}"/>
          </ac:spMkLst>
        </pc:spChg>
        <pc:spChg chg="add del mod">
          <ac:chgData name="Baciu Lupascu, Raluca" userId="68b8499e-70c7-46a5-a7f5-08d4a146f234" providerId="ADAL" clId="{D306BB26-EB9F-4E01-A290-0111A7EB9CD4}" dt="2022-03-09T13:35:47.466" v="12" actId="6264"/>
          <ac:spMkLst>
            <pc:docMk/>
            <pc:sldMk cId="1418650535" sldId="359"/>
            <ac:spMk id="10" creationId="{7102890A-E7BC-402B-B7A3-3C3A213FA6CC}"/>
          </ac:spMkLst>
        </pc:spChg>
        <pc:spChg chg="add del mod">
          <ac:chgData name="Baciu Lupascu, Raluca" userId="68b8499e-70c7-46a5-a7f5-08d4a146f234" providerId="ADAL" clId="{D306BB26-EB9F-4E01-A290-0111A7EB9CD4}" dt="2022-03-09T13:35:47.466" v="12" actId="6264"/>
          <ac:spMkLst>
            <pc:docMk/>
            <pc:sldMk cId="1418650535" sldId="359"/>
            <ac:spMk id="11" creationId="{4A9441FB-EF09-4323-85AA-01990CD32041}"/>
          </ac:spMkLst>
        </pc:spChg>
        <pc:spChg chg="add del mod">
          <ac:chgData name="Baciu Lupascu, Raluca" userId="68b8499e-70c7-46a5-a7f5-08d4a146f234" providerId="ADAL" clId="{D306BB26-EB9F-4E01-A290-0111A7EB9CD4}" dt="2022-03-09T13:35:47.466" v="12" actId="6264"/>
          <ac:spMkLst>
            <pc:docMk/>
            <pc:sldMk cId="1418650535" sldId="359"/>
            <ac:spMk id="12" creationId="{8AEC953D-A17E-43B4-A03B-0AB46C3DC4D7}"/>
          </ac:spMkLst>
        </pc:spChg>
        <pc:spChg chg="add del mod">
          <ac:chgData name="Baciu Lupascu, Raluca" userId="68b8499e-70c7-46a5-a7f5-08d4a146f234" providerId="ADAL" clId="{D306BB26-EB9F-4E01-A290-0111A7EB9CD4}" dt="2022-03-09T13:35:47.466" v="12" actId="6264"/>
          <ac:spMkLst>
            <pc:docMk/>
            <pc:sldMk cId="1418650535" sldId="359"/>
            <ac:spMk id="13" creationId="{7D64EE06-4D51-476C-BDCC-65EB3F7B7F09}"/>
          </ac:spMkLst>
        </pc:spChg>
        <pc:spChg chg="add del mod">
          <ac:chgData name="Baciu Lupascu, Raluca" userId="68b8499e-70c7-46a5-a7f5-08d4a146f234" providerId="ADAL" clId="{D306BB26-EB9F-4E01-A290-0111A7EB9CD4}" dt="2022-03-09T13:35:47.466" v="12" actId="6264"/>
          <ac:spMkLst>
            <pc:docMk/>
            <pc:sldMk cId="1418650535" sldId="359"/>
            <ac:spMk id="14" creationId="{32233198-7357-4755-AADF-9A60D318C9BD}"/>
          </ac:spMkLst>
        </pc:spChg>
        <pc:spChg chg="add del mod">
          <ac:chgData name="Baciu Lupascu, Raluca" userId="68b8499e-70c7-46a5-a7f5-08d4a146f234" providerId="ADAL" clId="{D306BB26-EB9F-4E01-A290-0111A7EB9CD4}" dt="2022-03-09T13:35:56.350" v="1912"/>
          <ac:spMkLst>
            <pc:docMk/>
            <pc:sldMk cId="1418650535" sldId="359"/>
            <ac:spMk id="15" creationId="{6C6944F0-7E3D-483C-8FCC-25CA6CC2E22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18650535" sldId="359"/>
            <ac:spMk id="16" creationId="{EAE3D795-91D6-4E4A-BA9A-6E2C0DA390E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18650535" sldId="359"/>
            <ac:spMk id="17" creationId="{11A0BB32-DE0D-4656-90A7-46ED014639D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18650535" sldId="359"/>
            <ac:spMk id="18" creationId="{AF681147-4A69-4E4C-8CDF-A0A71005FF67}"/>
          </ac:spMkLst>
        </pc:spChg>
        <pc:picChg chg="mod">
          <ac:chgData name="Baciu Lupascu, Raluca" userId="68b8499e-70c7-46a5-a7f5-08d4a146f234" providerId="ADAL" clId="{D306BB26-EB9F-4E01-A290-0111A7EB9CD4}" dt="2022-03-09T14:02:45.939" v="2578" actId="1076"/>
          <ac:picMkLst>
            <pc:docMk/>
            <pc:sldMk cId="1418650535" sldId="359"/>
            <ac:picMk id="7" creationId="{FF34946A-7C0C-47A9-B54E-94ACDC146E60}"/>
          </ac:picMkLst>
        </pc:picChg>
        <pc:picChg chg="mod">
          <ac:chgData name="Baciu Lupascu, Raluca" userId="68b8499e-70c7-46a5-a7f5-08d4a146f234" providerId="ADAL" clId="{D306BB26-EB9F-4E01-A290-0111A7EB9CD4}" dt="2022-03-09T14:02:20.951" v="2569" actId="1076"/>
          <ac:picMkLst>
            <pc:docMk/>
            <pc:sldMk cId="1418650535" sldId="359"/>
            <ac:picMk id="8" creationId="{64F90916-D143-4E4B-AC42-65D80030B5E7}"/>
          </ac:picMkLst>
        </pc:picChg>
        <pc:picChg chg="mod">
          <ac:chgData name="Baciu Lupascu, Raluca" userId="68b8499e-70c7-46a5-a7f5-08d4a146f234" providerId="ADAL" clId="{D306BB26-EB9F-4E01-A290-0111A7EB9CD4}" dt="2022-03-09T14:02:44.152" v="2577" actId="1076"/>
          <ac:picMkLst>
            <pc:docMk/>
            <pc:sldMk cId="1418650535" sldId="359"/>
            <ac:picMk id="9" creationId="{F085CE50-A663-4EE4-8817-C40C95D714C9}"/>
          </ac:picMkLst>
        </pc:pic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07:17.143" v="2680" actId="2696"/>
        <pc:sldMkLst>
          <pc:docMk/>
          <pc:sldMk cId="287878350" sldId="360"/>
        </pc:sldMkLst>
        <pc:spChg chg="mod ord">
          <ac:chgData name="Baciu Lupascu, Raluca" userId="68b8499e-70c7-46a5-a7f5-08d4a146f234" providerId="ADAL" clId="{D306BB26-EB9F-4E01-A290-0111A7EB9CD4}" dt="2022-03-09T14:07:16.801" v="2678" actId="12"/>
          <ac:spMkLst>
            <pc:docMk/>
            <pc:sldMk cId="287878350" sldId="360"/>
            <ac:spMk id="2" creationId="{A6600319-DADD-4179-986B-4B79AF34F847}"/>
          </ac:spMkLst>
        </pc:spChg>
        <pc:spChg chg="add del mod">
          <ac:chgData name="Baciu Lupascu, Raluca" userId="68b8499e-70c7-46a5-a7f5-08d4a146f234" providerId="ADAL" clId="{D306BB26-EB9F-4E01-A290-0111A7EB9CD4}" dt="2022-03-09T13:35:47.482" v="13" actId="6264"/>
          <ac:spMkLst>
            <pc:docMk/>
            <pc:sldMk cId="287878350" sldId="360"/>
            <ac:spMk id="3" creationId="{96635233-990F-4406-97B5-A3870F3C3655}"/>
          </ac:spMkLst>
        </pc:spChg>
        <pc:spChg chg="del mod ord">
          <ac:chgData name="Baciu Lupascu, Raluca" userId="68b8499e-70c7-46a5-a7f5-08d4a146f234" providerId="ADAL" clId="{D306BB26-EB9F-4E01-A290-0111A7EB9CD4}" dt="2022-03-09T13:35:48.516" v="223"/>
          <ac:spMkLst>
            <pc:docMk/>
            <pc:sldMk cId="287878350" sldId="360"/>
            <ac:spMk id="4" creationId="{BB8010D0-99CF-4753-9569-DB2CE797831D}"/>
          </ac:spMkLst>
        </pc:spChg>
        <pc:spChg chg="del mod ord">
          <ac:chgData name="Baciu Lupascu, Raluca" userId="68b8499e-70c7-46a5-a7f5-08d4a146f234" providerId="ADAL" clId="{D306BB26-EB9F-4E01-A290-0111A7EB9CD4}" dt="2022-03-09T13:35:48.516" v="225"/>
          <ac:spMkLst>
            <pc:docMk/>
            <pc:sldMk cId="287878350" sldId="360"/>
            <ac:spMk id="5" creationId="{623FDB0D-FCC1-4F49-B1CA-74343CECC204}"/>
          </ac:spMkLst>
        </pc:spChg>
        <pc:spChg chg="del mod ord">
          <ac:chgData name="Baciu Lupascu, Raluca" userId="68b8499e-70c7-46a5-a7f5-08d4a146f234" providerId="ADAL" clId="{D306BB26-EB9F-4E01-A290-0111A7EB9CD4}" dt="2022-03-09T13:35:48.516" v="224"/>
          <ac:spMkLst>
            <pc:docMk/>
            <pc:sldMk cId="287878350" sldId="360"/>
            <ac:spMk id="6" creationId="{F3967A0E-30D7-4127-8C6B-DF84B561D272}"/>
          </ac:spMkLst>
        </pc:spChg>
        <pc:spChg chg="add del mod">
          <ac:chgData name="Baciu Lupascu, Raluca" userId="68b8499e-70c7-46a5-a7f5-08d4a146f234" providerId="ADAL" clId="{D306BB26-EB9F-4E01-A290-0111A7EB9CD4}" dt="2022-03-09T13:35:47.482" v="13" actId="6264"/>
          <ac:spMkLst>
            <pc:docMk/>
            <pc:sldMk cId="287878350" sldId="360"/>
            <ac:spMk id="7" creationId="{F1967205-8129-4D31-9F02-6CF38485C655}"/>
          </ac:spMkLst>
        </pc:spChg>
        <pc:spChg chg="add del mod">
          <ac:chgData name="Baciu Lupascu, Raluca" userId="68b8499e-70c7-46a5-a7f5-08d4a146f234" providerId="ADAL" clId="{D306BB26-EB9F-4E01-A290-0111A7EB9CD4}" dt="2022-03-09T13:35:47.482" v="13" actId="6264"/>
          <ac:spMkLst>
            <pc:docMk/>
            <pc:sldMk cId="287878350" sldId="360"/>
            <ac:spMk id="9" creationId="{5CF1F267-F3EB-461C-A97E-8601D1F1F687}"/>
          </ac:spMkLst>
        </pc:spChg>
        <pc:spChg chg="add del mod">
          <ac:chgData name="Baciu Lupascu, Raluca" userId="68b8499e-70c7-46a5-a7f5-08d4a146f234" providerId="ADAL" clId="{D306BB26-EB9F-4E01-A290-0111A7EB9CD4}" dt="2022-03-09T13:35:47.482" v="13" actId="6264"/>
          <ac:spMkLst>
            <pc:docMk/>
            <pc:sldMk cId="287878350" sldId="360"/>
            <ac:spMk id="10" creationId="{3697CCFF-B8F3-4B37-AA7E-43F11F8D03B5}"/>
          </ac:spMkLst>
        </pc:spChg>
        <pc:spChg chg="add del mod ord">
          <ac:chgData name="Baciu Lupascu, Raluca" userId="68b8499e-70c7-46a5-a7f5-08d4a146f234" providerId="ADAL" clId="{D306BB26-EB9F-4E01-A290-0111A7EB9CD4}" dt="2022-03-09T13:35:48.531" v="230"/>
          <ac:spMkLst>
            <pc:docMk/>
            <pc:sldMk cId="287878350" sldId="360"/>
            <ac:spMk id="11" creationId="{7EA1ACF5-D6E7-4552-BC5F-F5C21A6CE694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87878350" sldId="360"/>
            <ac:spMk id="12" creationId="{76A81274-CEB2-41C4-A598-36374E460636}"/>
          </ac:spMkLst>
        </pc:spChg>
        <pc:spChg chg="add del mod">
          <ac:chgData name="Baciu Lupascu, Raluca" userId="68b8499e-70c7-46a5-a7f5-08d4a146f234" providerId="ADAL" clId="{D306BB26-EB9F-4E01-A290-0111A7EB9CD4}" dt="2022-03-09T13:35:56.352" v="1917"/>
          <ac:spMkLst>
            <pc:docMk/>
            <pc:sldMk cId="287878350" sldId="360"/>
            <ac:spMk id="13" creationId="{8C4EEEBF-BB75-4F48-ABF4-10E1575FF157}"/>
          </ac:spMkLst>
        </pc:spChg>
        <pc:spChg chg="add mod ord">
          <ac:chgData name="Baciu Lupascu, Raluca" userId="68b8499e-70c7-46a5-a7f5-08d4a146f234" providerId="ADAL" clId="{D306BB26-EB9F-4E01-A290-0111A7EB9CD4}" dt="2022-03-09T14:07:10.345" v="2674" actId="26606"/>
          <ac:spMkLst>
            <pc:docMk/>
            <pc:sldMk cId="287878350" sldId="360"/>
            <ac:spMk id="14" creationId="{41FC2C36-C3D0-459B-82AC-5F742B1D2FC2}"/>
          </ac:spMkLst>
        </pc:spChg>
        <pc:spChg chg="add mod ord">
          <ac:chgData name="Baciu Lupascu, Raluca" userId="68b8499e-70c7-46a5-a7f5-08d4a146f234" providerId="ADAL" clId="{D306BB26-EB9F-4E01-A290-0111A7EB9CD4}" dt="2022-03-09T14:07:10.345" v="2674" actId="26606"/>
          <ac:spMkLst>
            <pc:docMk/>
            <pc:sldMk cId="287878350" sldId="360"/>
            <ac:spMk id="15" creationId="{1933F85F-5293-4F5E-985F-0875601CF13E}"/>
          </ac:spMkLst>
        </pc:spChg>
        <pc:spChg chg="add mod ord">
          <ac:chgData name="Baciu Lupascu, Raluca" userId="68b8499e-70c7-46a5-a7f5-08d4a146f234" providerId="ADAL" clId="{D306BB26-EB9F-4E01-A290-0111A7EB9CD4}" dt="2022-03-09T14:07:10.345" v="2674" actId="26606"/>
          <ac:spMkLst>
            <pc:docMk/>
            <pc:sldMk cId="287878350" sldId="360"/>
            <ac:spMk id="16" creationId="{CBE561B9-4DCE-4765-9C4D-D98D23573CAE}"/>
          </ac:spMkLst>
        </pc:spChg>
        <pc:spChg chg="add del mod ord">
          <ac:chgData name="Baciu Lupascu, Raluca" userId="68b8499e-70c7-46a5-a7f5-08d4a146f234" providerId="ADAL" clId="{D306BB26-EB9F-4E01-A290-0111A7EB9CD4}" dt="2022-03-09T14:07:10.345" v="2674" actId="26606"/>
          <ac:spMkLst>
            <pc:docMk/>
            <pc:sldMk cId="287878350" sldId="360"/>
            <ac:spMk id="17" creationId="{096A2E74-C4B5-461C-BD7F-42177D83F0BE}"/>
          </ac:spMkLst>
        </pc:spChg>
        <pc:picChg chg="mod ord">
          <ac:chgData name="Baciu Lupascu, Raluca" userId="68b8499e-70c7-46a5-a7f5-08d4a146f234" providerId="ADAL" clId="{D306BB26-EB9F-4E01-A290-0111A7EB9CD4}" dt="2022-03-09T14:07:10.345" v="2674" actId="26606"/>
          <ac:picMkLst>
            <pc:docMk/>
            <pc:sldMk cId="287878350" sldId="360"/>
            <ac:picMk id="8" creationId="{A3CAC075-CF2B-4081-8047-55B4AF0D85A6}"/>
          </ac:picMkLst>
        </pc:picChg>
      </pc:sldChg>
      <pc:sldChg chg="addSp delSp modSp add del mod modTransition modClrScheme chgLayout modNotes">
        <pc:chgData name="Baciu Lupascu, Raluca" userId="68b8499e-70c7-46a5-a7f5-08d4a146f234" providerId="ADAL" clId="{D306BB26-EB9F-4E01-A290-0111A7EB9CD4}" dt="2022-03-09T14:04:52.016" v="2616" actId="2696"/>
        <pc:sldMkLst>
          <pc:docMk/>
          <pc:sldMk cId="4133175277" sldId="361"/>
        </pc:sldMkLst>
        <pc:spChg chg="mod ord">
          <ac:chgData name="Baciu Lupascu, Raluca" userId="68b8499e-70c7-46a5-a7f5-08d4a146f234" providerId="ADAL" clId="{D306BB26-EB9F-4E01-A290-0111A7EB9CD4}" dt="2022-03-09T14:04:51.693" v="2614" actId="12"/>
          <ac:spMkLst>
            <pc:docMk/>
            <pc:sldMk cId="4133175277" sldId="361"/>
            <ac:spMk id="2" creationId="{1EE0F56A-CABB-46CC-B741-B7A3F97166F7}"/>
          </ac:spMkLst>
        </pc:spChg>
        <pc:spChg chg="mod ord">
          <ac:chgData name="Baciu Lupascu, Raluca" userId="68b8499e-70c7-46a5-a7f5-08d4a146f234" providerId="ADAL" clId="{D306BB26-EB9F-4E01-A290-0111A7EB9CD4}" dt="2022-03-09T14:04:30.828" v="2602" actId="12"/>
          <ac:spMkLst>
            <pc:docMk/>
            <pc:sldMk cId="4133175277" sldId="361"/>
            <ac:spMk id="3" creationId="{9CA738B6-DCCB-45C4-85CF-AADBC0D242BE}"/>
          </ac:spMkLst>
        </pc:spChg>
        <pc:spChg chg="del mod ord">
          <ac:chgData name="Baciu Lupascu, Raluca" userId="68b8499e-70c7-46a5-a7f5-08d4a146f234" providerId="ADAL" clId="{D306BB26-EB9F-4E01-A290-0111A7EB9CD4}" dt="2022-03-09T13:35:48.532" v="234"/>
          <ac:spMkLst>
            <pc:docMk/>
            <pc:sldMk cId="4133175277" sldId="361"/>
            <ac:spMk id="4" creationId="{2B988D86-F945-4B7E-B505-2D6A44E16B94}"/>
          </ac:spMkLst>
        </pc:spChg>
        <pc:spChg chg="del mod ord">
          <ac:chgData name="Baciu Lupascu, Raluca" userId="68b8499e-70c7-46a5-a7f5-08d4a146f234" providerId="ADAL" clId="{D306BB26-EB9F-4E01-A290-0111A7EB9CD4}" dt="2022-03-09T13:35:48.532" v="236"/>
          <ac:spMkLst>
            <pc:docMk/>
            <pc:sldMk cId="4133175277" sldId="361"/>
            <ac:spMk id="5" creationId="{95BC6EA4-2EBC-43EC-AF1A-861FB0D069A5}"/>
          </ac:spMkLst>
        </pc:spChg>
        <pc:spChg chg="del mod ord">
          <ac:chgData name="Baciu Lupascu, Raluca" userId="68b8499e-70c7-46a5-a7f5-08d4a146f234" providerId="ADAL" clId="{D306BB26-EB9F-4E01-A290-0111A7EB9CD4}" dt="2022-03-09T13:35:48.532" v="235"/>
          <ac:spMkLst>
            <pc:docMk/>
            <pc:sldMk cId="4133175277" sldId="361"/>
            <ac:spMk id="6" creationId="{85630001-8743-4366-9AE5-499703F9652B}"/>
          </ac:spMkLst>
        </pc:spChg>
        <pc:spChg chg="add del mod">
          <ac:chgData name="Baciu Lupascu, Raluca" userId="68b8499e-70c7-46a5-a7f5-08d4a146f234" providerId="ADAL" clId="{D306BB26-EB9F-4E01-A290-0111A7EB9CD4}" dt="2022-03-09T13:35:47.500" v="14" actId="6264"/>
          <ac:spMkLst>
            <pc:docMk/>
            <pc:sldMk cId="4133175277" sldId="361"/>
            <ac:spMk id="8" creationId="{E9E9DC19-6F8E-4AC8-AADB-ABB4E0807895}"/>
          </ac:spMkLst>
        </pc:spChg>
        <pc:spChg chg="add del mod">
          <ac:chgData name="Baciu Lupascu, Raluca" userId="68b8499e-70c7-46a5-a7f5-08d4a146f234" providerId="ADAL" clId="{D306BB26-EB9F-4E01-A290-0111A7EB9CD4}" dt="2022-03-09T13:35:47.500" v="14" actId="6264"/>
          <ac:spMkLst>
            <pc:docMk/>
            <pc:sldMk cId="4133175277" sldId="361"/>
            <ac:spMk id="9" creationId="{00E5E6A5-DCA0-4BB8-969D-F82982FAAA42}"/>
          </ac:spMkLst>
        </pc:spChg>
        <pc:spChg chg="add del mod">
          <ac:chgData name="Baciu Lupascu, Raluca" userId="68b8499e-70c7-46a5-a7f5-08d4a146f234" providerId="ADAL" clId="{D306BB26-EB9F-4E01-A290-0111A7EB9CD4}" dt="2022-03-09T13:35:47.500" v="14" actId="6264"/>
          <ac:spMkLst>
            <pc:docMk/>
            <pc:sldMk cId="4133175277" sldId="361"/>
            <ac:spMk id="10" creationId="{247E0F80-58F3-4399-ACDB-C0A2132DACD0}"/>
          </ac:spMkLst>
        </pc:spChg>
        <pc:spChg chg="add del mod">
          <ac:chgData name="Baciu Lupascu, Raluca" userId="68b8499e-70c7-46a5-a7f5-08d4a146f234" providerId="ADAL" clId="{D306BB26-EB9F-4E01-A290-0111A7EB9CD4}" dt="2022-03-09T13:35:47.500" v="14" actId="6264"/>
          <ac:spMkLst>
            <pc:docMk/>
            <pc:sldMk cId="4133175277" sldId="361"/>
            <ac:spMk id="11" creationId="{C54E055F-9541-4BF8-BC21-43A0F5D5005C}"/>
          </ac:spMkLst>
        </pc:spChg>
        <pc:spChg chg="add del mod">
          <ac:chgData name="Baciu Lupascu, Raluca" userId="68b8499e-70c7-46a5-a7f5-08d4a146f234" providerId="ADAL" clId="{D306BB26-EB9F-4E01-A290-0111A7EB9CD4}" dt="2022-03-09T13:35:47.500" v="14" actId="6264"/>
          <ac:spMkLst>
            <pc:docMk/>
            <pc:sldMk cId="4133175277" sldId="361"/>
            <ac:spMk id="12" creationId="{18281ACA-A06E-4E0F-A6E3-9D774C24917E}"/>
          </ac:spMkLst>
        </pc:spChg>
        <pc:spChg chg="add del mod">
          <ac:chgData name="Baciu Lupascu, Raluca" userId="68b8499e-70c7-46a5-a7f5-08d4a146f234" providerId="ADAL" clId="{D306BB26-EB9F-4E01-A290-0111A7EB9CD4}" dt="2022-03-09T13:35:56.354" v="1922"/>
          <ac:spMkLst>
            <pc:docMk/>
            <pc:sldMk cId="4133175277" sldId="361"/>
            <ac:spMk id="13" creationId="{BE619E48-2443-49C7-B03F-FBA1B77CBFA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33175277" sldId="361"/>
            <ac:spMk id="14" creationId="{3DA28D25-3D75-4326-ADB2-42D6C0CFB04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33175277" sldId="361"/>
            <ac:spMk id="15" creationId="{A24C1592-1F24-459B-8EB1-9F40D0E7B33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33175277" sldId="361"/>
            <ac:spMk id="16" creationId="{ACA2CCC7-8A3F-4821-92DC-EDA78A5FDAD5}"/>
          </ac:spMkLst>
        </pc:spChg>
        <pc:picChg chg="add del">
          <ac:chgData name="Baciu Lupascu, Raluca" userId="68b8499e-70c7-46a5-a7f5-08d4a146f234" providerId="ADAL" clId="{D306BB26-EB9F-4E01-A290-0111A7EB9CD4}" dt="2022-03-09T14:03:37.086" v="2581" actId="478"/>
          <ac:picMkLst>
            <pc:docMk/>
            <pc:sldMk cId="4133175277" sldId="361"/>
            <ac:picMk id="7" creationId="{2D338A07-D673-4059-A708-93EE2D354E98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08:28.394" v="2695" actId="478"/>
        <pc:sldMkLst>
          <pc:docMk/>
          <pc:sldMk cId="412762512" sldId="362"/>
        </pc:sldMkLst>
        <pc:spChg chg="add del mod">
          <ac:chgData name="Baciu Lupascu, Raluca" userId="68b8499e-70c7-46a5-a7f5-08d4a146f234" providerId="ADAL" clId="{D306BB26-EB9F-4E01-A290-0111A7EB9CD4}" dt="2022-03-09T13:35:47.516" v="15" actId="6264"/>
          <ac:spMkLst>
            <pc:docMk/>
            <pc:sldMk cId="412762512" sldId="362"/>
            <ac:spMk id="2" creationId="{E10D7EBF-EB3C-4427-AF34-3B7602020DB4}"/>
          </ac:spMkLst>
        </pc:spChg>
        <pc:spChg chg="add del mod">
          <ac:chgData name="Baciu Lupascu, Raluca" userId="68b8499e-70c7-46a5-a7f5-08d4a146f234" providerId="ADAL" clId="{D306BB26-EB9F-4E01-A290-0111A7EB9CD4}" dt="2022-03-09T13:35:47.516" v="15" actId="6264"/>
          <ac:spMkLst>
            <pc:docMk/>
            <pc:sldMk cId="412762512" sldId="362"/>
            <ac:spMk id="3" creationId="{6646A2DB-86CA-4849-B8C6-EC8BD5EF4FCE}"/>
          </ac:spMkLst>
        </pc:spChg>
        <pc:spChg chg="del mod ord">
          <ac:chgData name="Baciu Lupascu, Raluca" userId="68b8499e-70c7-46a5-a7f5-08d4a146f234" providerId="ADAL" clId="{D306BB26-EB9F-4E01-A290-0111A7EB9CD4}" dt="2022-03-09T13:35:48.548" v="246"/>
          <ac:spMkLst>
            <pc:docMk/>
            <pc:sldMk cId="412762512" sldId="362"/>
            <ac:spMk id="4" creationId="{D35AFEBE-A9CC-4613-8026-508F145F94C0}"/>
          </ac:spMkLst>
        </pc:spChg>
        <pc:spChg chg="del mod ord">
          <ac:chgData name="Baciu Lupascu, Raluca" userId="68b8499e-70c7-46a5-a7f5-08d4a146f234" providerId="ADAL" clId="{D306BB26-EB9F-4E01-A290-0111A7EB9CD4}" dt="2022-03-09T13:35:48.548" v="248"/>
          <ac:spMkLst>
            <pc:docMk/>
            <pc:sldMk cId="412762512" sldId="362"/>
            <ac:spMk id="5" creationId="{B9DFC1DD-E81A-4718-809A-3F8B6D01C37D}"/>
          </ac:spMkLst>
        </pc:spChg>
        <pc:spChg chg="del mod ord">
          <ac:chgData name="Baciu Lupascu, Raluca" userId="68b8499e-70c7-46a5-a7f5-08d4a146f234" providerId="ADAL" clId="{D306BB26-EB9F-4E01-A290-0111A7EB9CD4}" dt="2022-03-09T13:35:48.548" v="247"/>
          <ac:spMkLst>
            <pc:docMk/>
            <pc:sldMk cId="412762512" sldId="362"/>
            <ac:spMk id="6" creationId="{864401AA-63C9-45BF-94C7-540261D9FD05}"/>
          </ac:spMkLst>
        </pc:spChg>
        <pc:spChg chg="add del mod">
          <ac:chgData name="Baciu Lupascu, Raluca" userId="68b8499e-70c7-46a5-a7f5-08d4a146f234" providerId="ADAL" clId="{D306BB26-EB9F-4E01-A290-0111A7EB9CD4}" dt="2022-03-09T13:35:47.516" v="15" actId="6264"/>
          <ac:spMkLst>
            <pc:docMk/>
            <pc:sldMk cId="412762512" sldId="362"/>
            <ac:spMk id="9" creationId="{7ED3D2D0-0090-46D7-B549-097806821277}"/>
          </ac:spMkLst>
        </pc:spChg>
        <pc:spChg chg="add del mod ord">
          <ac:chgData name="Baciu Lupascu, Raluca" userId="68b8499e-70c7-46a5-a7f5-08d4a146f234" providerId="ADAL" clId="{D306BB26-EB9F-4E01-A290-0111A7EB9CD4}" dt="2022-03-09T13:35:48.562" v="253"/>
          <ac:spMkLst>
            <pc:docMk/>
            <pc:sldMk cId="412762512" sldId="362"/>
            <ac:spMk id="10" creationId="{3C55B7A3-7B4D-4831-8337-0377014FCAE4}"/>
          </ac:spMkLst>
        </pc:spChg>
        <pc:spChg chg="mod">
          <ac:chgData name="Baciu Lupascu, Raluca" userId="68b8499e-70c7-46a5-a7f5-08d4a146f234" providerId="ADAL" clId="{D306BB26-EB9F-4E01-A290-0111A7EB9CD4}" dt="2022-03-09T13:35:55.826" v="1415" actId="790"/>
          <ac:spMkLst>
            <pc:docMk/>
            <pc:sldMk cId="412762512" sldId="362"/>
            <ac:spMk id="11" creationId="{6A7D06E5-BC72-4AFE-80A6-D0939033C46C}"/>
          </ac:spMkLst>
        </pc:spChg>
        <pc:spChg chg="mod">
          <ac:chgData name="Baciu Lupascu, Raluca" userId="68b8499e-70c7-46a5-a7f5-08d4a146f234" providerId="ADAL" clId="{D306BB26-EB9F-4E01-A290-0111A7EB9CD4}" dt="2022-03-09T13:35:55.827" v="1416" actId="790"/>
          <ac:spMkLst>
            <pc:docMk/>
            <pc:sldMk cId="412762512" sldId="362"/>
            <ac:spMk id="12" creationId="{E81F3525-8F3E-4426-8559-C11654B2F158}"/>
          </ac:spMkLst>
        </pc:spChg>
        <pc:spChg chg="add del mod ord">
          <ac:chgData name="Baciu Lupascu, Raluca" userId="68b8499e-70c7-46a5-a7f5-08d4a146f234" providerId="ADAL" clId="{D306BB26-EB9F-4E01-A290-0111A7EB9CD4}" dt="2022-03-09T13:35:48.562" v="253"/>
          <ac:spMkLst>
            <pc:docMk/>
            <pc:sldMk cId="412762512" sldId="362"/>
            <ac:spMk id="13" creationId="{C981E962-B409-4E1F-97E8-97C292DEB2AF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2762512" sldId="362"/>
            <ac:spMk id="14" creationId="{AF258D57-DB8D-4F14-90D7-3FCD03F1B8EC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2762512" sldId="362"/>
            <ac:spMk id="15" creationId="{B9CC85A9-228C-4C94-88CE-B76E13049E09}"/>
          </ac:spMkLst>
        </pc:spChg>
        <pc:spChg chg="add del mod">
          <ac:chgData name="Baciu Lupascu, Raluca" userId="68b8499e-70c7-46a5-a7f5-08d4a146f234" providerId="ADAL" clId="{D306BB26-EB9F-4E01-A290-0111A7EB9CD4}" dt="2022-03-09T13:35:56.356" v="1927"/>
          <ac:spMkLst>
            <pc:docMk/>
            <pc:sldMk cId="412762512" sldId="362"/>
            <ac:spMk id="16" creationId="{B332935D-C33D-4A4D-93A9-A1126C52DEF8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2762512" sldId="362"/>
            <ac:spMk id="17" creationId="{A67FA81E-A7A1-49D7-97ED-4E05B1F48B2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2762512" sldId="362"/>
            <ac:spMk id="18" creationId="{1573027B-E34B-4D51-9116-579E9D729EF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12762512" sldId="362"/>
            <ac:spMk id="19" creationId="{A9512DA5-0836-4825-BA95-DC412E79AD23}"/>
          </ac:spMkLst>
        </pc:spChg>
        <pc:spChg chg="add del mod ord">
          <ac:chgData name="Baciu Lupascu, Raluca" userId="68b8499e-70c7-46a5-a7f5-08d4a146f234" providerId="ADAL" clId="{D306BB26-EB9F-4E01-A290-0111A7EB9CD4}" dt="2022-03-09T14:08:26.760" v="2694" actId="478"/>
          <ac:spMkLst>
            <pc:docMk/>
            <pc:sldMk cId="412762512" sldId="362"/>
            <ac:spMk id="20" creationId="{75E1E16D-67FC-423C-BF10-73B6BF234B3D}"/>
          </ac:spMkLst>
        </pc:spChg>
        <pc:spChg chg="add del mod ord">
          <ac:chgData name="Baciu Lupascu, Raluca" userId="68b8499e-70c7-46a5-a7f5-08d4a146f234" providerId="ADAL" clId="{D306BB26-EB9F-4E01-A290-0111A7EB9CD4}" dt="2022-03-09T14:08:28.394" v="2695" actId="478"/>
          <ac:spMkLst>
            <pc:docMk/>
            <pc:sldMk cId="412762512" sldId="362"/>
            <ac:spMk id="21" creationId="{920E0A6D-DD7D-426B-9EF5-15FD2BCBBAEC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08:37.157" v="2697" actId="478"/>
        <pc:sldMkLst>
          <pc:docMk/>
          <pc:sldMk cId="3644634766" sldId="363"/>
        </pc:sldMkLst>
        <pc:spChg chg="add del mod">
          <ac:chgData name="Baciu Lupascu, Raluca" userId="68b8499e-70c7-46a5-a7f5-08d4a146f234" providerId="ADAL" clId="{D306BB26-EB9F-4E01-A290-0111A7EB9CD4}" dt="2022-03-09T13:35:47.532" v="16" actId="6264"/>
          <ac:spMkLst>
            <pc:docMk/>
            <pc:sldMk cId="3644634766" sldId="363"/>
            <ac:spMk id="2" creationId="{A4495F32-21CE-4A60-AE41-F097A0F3AE36}"/>
          </ac:spMkLst>
        </pc:spChg>
        <pc:spChg chg="add del mod">
          <ac:chgData name="Baciu Lupascu, Raluca" userId="68b8499e-70c7-46a5-a7f5-08d4a146f234" providerId="ADAL" clId="{D306BB26-EB9F-4E01-A290-0111A7EB9CD4}" dt="2022-03-09T13:35:47.532" v="16" actId="6264"/>
          <ac:spMkLst>
            <pc:docMk/>
            <pc:sldMk cId="3644634766" sldId="363"/>
            <ac:spMk id="3" creationId="{EA7CF03B-FEAC-4CD1-88F9-2AE24C79F2CF}"/>
          </ac:spMkLst>
        </pc:spChg>
        <pc:spChg chg="del mod ord">
          <ac:chgData name="Baciu Lupascu, Raluca" userId="68b8499e-70c7-46a5-a7f5-08d4a146f234" providerId="ADAL" clId="{D306BB26-EB9F-4E01-A290-0111A7EB9CD4}" dt="2022-03-09T13:35:48.562" v="257"/>
          <ac:spMkLst>
            <pc:docMk/>
            <pc:sldMk cId="3644634766" sldId="363"/>
            <ac:spMk id="4" creationId="{107EDE52-8725-4F45-9800-418A65CF88E0}"/>
          </ac:spMkLst>
        </pc:spChg>
        <pc:spChg chg="del mod ord">
          <ac:chgData name="Baciu Lupascu, Raluca" userId="68b8499e-70c7-46a5-a7f5-08d4a146f234" providerId="ADAL" clId="{D306BB26-EB9F-4E01-A290-0111A7EB9CD4}" dt="2022-03-09T13:35:48.563" v="259"/>
          <ac:spMkLst>
            <pc:docMk/>
            <pc:sldMk cId="3644634766" sldId="363"/>
            <ac:spMk id="5" creationId="{B0A8FFF9-9F6C-4717-AC15-B0114D722C2E}"/>
          </ac:spMkLst>
        </pc:spChg>
        <pc:spChg chg="del mod ord">
          <ac:chgData name="Baciu Lupascu, Raluca" userId="68b8499e-70c7-46a5-a7f5-08d4a146f234" providerId="ADAL" clId="{D306BB26-EB9F-4E01-A290-0111A7EB9CD4}" dt="2022-03-09T13:35:48.563" v="258"/>
          <ac:spMkLst>
            <pc:docMk/>
            <pc:sldMk cId="3644634766" sldId="363"/>
            <ac:spMk id="6" creationId="{2C39C659-7F0E-43A4-A32E-DB3EA6FEA579}"/>
          </ac:spMkLst>
        </pc:spChg>
        <pc:spChg chg="mod">
          <ac:chgData name="Baciu Lupascu, Raluca" userId="68b8499e-70c7-46a5-a7f5-08d4a146f234" providerId="ADAL" clId="{D306BB26-EB9F-4E01-A290-0111A7EB9CD4}" dt="2022-03-09T13:35:55.833" v="1428" actId="790"/>
          <ac:spMkLst>
            <pc:docMk/>
            <pc:sldMk cId="3644634766" sldId="363"/>
            <ac:spMk id="8" creationId="{176198DC-A79D-42C9-9422-7742997037F8}"/>
          </ac:spMkLst>
        </pc:spChg>
        <pc:spChg chg="add del mod">
          <ac:chgData name="Baciu Lupascu, Raluca" userId="68b8499e-70c7-46a5-a7f5-08d4a146f234" providerId="ADAL" clId="{D306BB26-EB9F-4E01-A290-0111A7EB9CD4}" dt="2022-03-09T13:35:47.532" v="16" actId="6264"/>
          <ac:spMkLst>
            <pc:docMk/>
            <pc:sldMk cId="3644634766" sldId="363"/>
            <ac:spMk id="9" creationId="{8E77AC09-1454-45EA-8CDA-0BAE6C222FFF}"/>
          </ac:spMkLst>
        </pc:spChg>
        <pc:spChg chg="add del mod ord">
          <ac:chgData name="Baciu Lupascu, Raluca" userId="68b8499e-70c7-46a5-a7f5-08d4a146f234" providerId="ADAL" clId="{D306BB26-EB9F-4E01-A290-0111A7EB9CD4}" dt="2022-03-09T13:35:48.577" v="264"/>
          <ac:spMkLst>
            <pc:docMk/>
            <pc:sldMk cId="3644634766" sldId="363"/>
            <ac:spMk id="10" creationId="{44A986D9-DB76-41DE-AF98-34B5BEEC3244}"/>
          </ac:spMkLst>
        </pc:spChg>
        <pc:spChg chg="add del mod ord">
          <ac:chgData name="Baciu Lupascu, Raluca" userId="68b8499e-70c7-46a5-a7f5-08d4a146f234" providerId="ADAL" clId="{D306BB26-EB9F-4E01-A290-0111A7EB9CD4}" dt="2022-03-09T13:35:48.577" v="264"/>
          <ac:spMkLst>
            <pc:docMk/>
            <pc:sldMk cId="3644634766" sldId="363"/>
            <ac:spMk id="11" creationId="{D6416A98-A9A4-4550-B4AE-FF4354471E13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644634766" sldId="363"/>
            <ac:spMk id="12" creationId="{CCCE8FF1-8143-4D8E-BD12-4CAE6C8C78B2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644634766" sldId="363"/>
            <ac:spMk id="13" creationId="{50ABD41C-FB7F-4DB8-B952-C53D50E244A3}"/>
          </ac:spMkLst>
        </pc:spChg>
        <pc:spChg chg="add del mod">
          <ac:chgData name="Baciu Lupascu, Raluca" userId="68b8499e-70c7-46a5-a7f5-08d4a146f234" providerId="ADAL" clId="{D306BB26-EB9F-4E01-A290-0111A7EB9CD4}" dt="2022-03-09T13:35:56.358" v="1932"/>
          <ac:spMkLst>
            <pc:docMk/>
            <pc:sldMk cId="3644634766" sldId="363"/>
            <ac:spMk id="14" creationId="{B8DAA231-2D5E-4AB1-BF34-23C7A344E79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644634766" sldId="363"/>
            <ac:spMk id="15" creationId="{7D3B5BAF-8C81-414A-980D-EFAAF5B4AE18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644634766" sldId="363"/>
            <ac:spMk id="16" creationId="{44E14890-8905-421C-B843-EFD6BF860584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644634766" sldId="363"/>
            <ac:spMk id="17" creationId="{96C736AB-7613-40CD-A607-32E8D166C5DF}"/>
          </ac:spMkLst>
        </pc:spChg>
        <pc:spChg chg="add del mod ord">
          <ac:chgData name="Baciu Lupascu, Raluca" userId="68b8499e-70c7-46a5-a7f5-08d4a146f234" providerId="ADAL" clId="{D306BB26-EB9F-4E01-A290-0111A7EB9CD4}" dt="2022-03-09T14:08:35.355" v="2696" actId="478"/>
          <ac:spMkLst>
            <pc:docMk/>
            <pc:sldMk cId="3644634766" sldId="363"/>
            <ac:spMk id="18" creationId="{6650CC5E-8145-4D10-BED9-0B8B9BE29AA2}"/>
          </ac:spMkLst>
        </pc:spChg>
        <pc:spChg chg="add del mod ord">
          <ac:chgData name="Baciu Lupascu, Raluca" userId="68b8499e-70c7-46a5-a7f5-08d4a146f234" providerId="ADAL" clId="{D306BB26-EB9F-4E01-A290-0111A7EB9CD4}" dt="2022-03-09T14:08:37.157" v="2697" actId="478"/>
          <ac:spMkLst>
            <pc:docMk/>
            <pc:sldMk cId="3644634766" sldId="363"/>
            <ac:spMk id="19" creationId="{A0DD1A9D-AE98-4FC2-BE96-A8158CCBA00B}"/>
          </ac:spMkLst>
        </pc:sp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10:49.049" v="2735" actId="2696"/>
        <pc:sldMkLst>
          <pc:docMk/>
          <pc:sldMk cId="159346331" sldId="364"/>
        </pc:sldMkLst>
        <pc:spChg chg="mod ord">
          <ac:chgData name="Baciu Lupascu, Raluca" userId="68b8499e-70c7-46a5-a7f5-08d4a146f234" providerId="ADAL" clId="{D306BB26-EB9F-4E01-A290-0111A7EB9CD4}" dt="2022-03-09T13:51:14.772" v="2378" actId="947"/>
          <ac:spMkLst>
            <pc:docMk/>
            <pc:sldMk cId="159346331" sldId="364"/>
            <ac:spMk id="2" creationId="{C1F5861E-D3CA-4DE4-8891-535D46D3E8BD}"/>
          </ac:spMkLst>
        </pc:spChg>
        <pc:spChg chg="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9346331" sldId="364"/>
            <ac:spMk id="3" creationId="{6B09C4ED-B77C-4002-A3A1-B4607FEAD7E7}"/>
          </ac:spMkLst>
        </pc:spChg>
        <pc:spChg chg="del mod ord">
          <ac:chgData name="Baciu Lupascu, Raluca" userId="68b8499e-70c7-46a5-a7f5-08d4a146f234" providerId="ADAL" clId="{D306BB26-EB9F-4E01-A290-0111A7EB9CD4}" dt="2022-03-09T13:35:48.592" v="279"/>
          <ac:spMkLst>
            <pc:docMk/>
            <pc:sldMk cId="159346331" sldId="364"/>
            <ac:spMk id="4" creationId="{A0092050-096C-41BB-808A-0353B0E2F2D1}"/>
          </ac:spMkLst>
        </pc:spChg>
        <pc:spChg chg="del mod ord">
          <ac:chgData name="Baciu Lupascu, Raluca" userId="68b8499e-70c7-46a5-a7f5-08d4a146f234" providerId="ADAL" clId="{D306BB26-EB9F-4E01-A290-0111A7EB9CD4}" dt="2022-03-09T13:35:48.592" v="281"/>
          <ac:spMkLst>
            <pc:docMk/>
            <pc:sldMk cId="159346331" sldId="364"/>
            <ac:spMk id="5" creationId="{F7DB442A-1F80-4E3D-B01A-BA2E7E73A525}"/>
          </ac:spMkLst>
        </pc:spChg>
        <pc:spChg chg="del mod ord">
          <ac:chgData name="Baciu Lupascu, Raluca" userId="68b8499e-70c7-46a5-a7f5-08d4a146f234" providerId="ADAL" clId="{D306BB26-EB9F-4E01-A290-0111A7EB9CD4}" dt="2022-03-09T13:35:48.592" v="280"/>
          <ac:spMkLst>
            <pc:docMk/>
            <pc:sldMk cId="159346331" sldId="364"/>
            <ac:spMk id="6" creationId="{2AE17C71-A573-4FC0-911E-15153DBE3200}"/>
          </ac:spMkLst>
        </pc:spChg>
        <pc:spChg chg="add del mod">
          <ac:chgData name="Baciu Lupascu, Raluca" userId="68b8499e-70c7-46a5-a7f5-08d4a146f234" providerId="ADAL" clId="{D306BB26-EB9F-4E01-A290-0111A7EB9CD4}" dt="2022-03-09T13:35:47.572" v="18" actId="6264"/>
          <ac:spMkLst>
            <pc:docMk/>
            <pc:sldMk cId="159346331" sldId="364"/>
            <ac:spMk id="10" creationId="{A3F7BC79-79B5-4E5A-9019-7128A41EB3D7}"/>
          </ac:spMkLst>
        </pc:spChg>
        <pc:spChg chg="add del mod">
          <ac:chgData name="Baciu Lupascu, Raluca" userId="68b8499e-70c7-46a5-a7f5-08d4a146f234" providerId="ADAL" clId="{D306BB26-EB9F-4E01-A290-0111A7EB9CD4}" dt="2022-03-09T13:35:47.572" v="18" actId="6264"/>
          <ac:spMkLst>
            <pc:docMk/>
            <pc:sldMk cId="159346331" sldId="364"/>
            <ac:spMk id="11" creationId="{F6FB67F5-829B-4287-8369-093896A22DFA}"/>
          </ac:spMkLst>
        </pc:spChg>
        <pc:spChg chg="add del mod">
          <ac:chgData name="Baciu Lupascu, Raluca" userId="68b8499e-70c7-46a5-a7f5-08d4a146f234" providerId="ADAL" clId="{D306BB26-EB9F-4E01-A290-0111A7EB9CD4}" dt="2022-03-09T13:35:47.572" v="18" actId="6264"/>
          <ac:spMkLst>
            <pc:docMk/>
            <pc:sldMk cId="159346331" sldId="364"/>
            <ac:spMk id="12" creationId="{DC3A1C8E-BD90-4064-BFF6-0CD0B8ED9C7F}"/>
          </ac:spMkLst>
        </pc:spChg>
        <pc:spChg chg="add del mod">
          <ac:chgData name="Baciu Lupascu, Raluca" userId="68b8499e-70c7-46a5-a7f5-08d4a146f234" providerId="ADAL" clId="{D306BB26-EB9F-4E01-A290-0111A7EB9CD4}" dt="2022-03-09T13:35:47.572" v="18" actId="6264"/>
          <ac:spMkLst>
            <pc:docMk/>
            <pc:sldMk cId="159346331" sldId="364"/>
            <ac:spMk id="13" creationId="{C3D54D60-96D4-437A-86FE-6E3C7CDE7462}"/>
          </ac:spMkLst>
        </pc:spChg>
        <pc:spChg chg="add del mod">
          <ac:chgData name="Baciu Lupascu, Raluca" userId="68b8499e-70c7-46a5-a7f5-08d4a146f234" providerId="ADAL" clId="{D306BB26-EB9F-4E01-A290-0111A7EB9CD4}" dt="2022-03-09T13:35:47.572" v="18" actId="6264"/>
          <ac:spMkLst>
            <pc:docMk/>
            <pc:sldMk cId="159346331" sldId="364"/>
            <ac:spMk id="14" creationId="{E9B6FFDB-0112-4AAC-9808-9D2811EDE4B7}"/>
          </ac:spMkLst>
        </pc:spChg>
        <pc:spChg chg="add del mod">
          <ac:chgData name="Baciu Lupascu, Raluca" userId="68b8499e-70c7-46a5-a7f5-08d4a146f234" providerId="ADAL" clId="{D306BB26-EB9F-4E01-A290-0111A7EB9CD4}" dt="2022-03-09T13:35:56.362" v="1942"/>
          <ac:spMkLst>
            <pc:docMk/>
            <pc:sldMk cId="159346331" sldId="364"/>
            <ac:spMk id="15" creationId="{33F9D095-6896-4A19-9DA7-DDB1032761D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9346331" sldId="364"/>
            <ac:spMk id="16" creationId="{05B10EB0-E043-4F8A-B03B-CA0833E41077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9346331" sldId="364"/>
            <ac:spMk id="17" creationId="{2AEACA35-34A6-42CE-95A2-C85E34FF006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9346331" sldId="364"/>
            <ac:spMk id="18" creationId="{22CC4D13-FF61-4954-897C-30F148BDF3CC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17:01.490" v="2894" actId="1035"/>
        <pc:sldMkLst>
          <pc:docMk/>
          <pc:sldMk cId="265154065" sldId="365"/>
        </pc:sldMkLst>
        <pc:spChg chg="del mod ord">
          <ac:chgData name="Baciu Lupascu, Raluca" userId="68b8499e-70c7-46a5-a7f5-08d4a146f234" providerId="ADAL" clId="{D306BB26-EB9F-4E01-A290-0111A7EB9CD4}" dt="2022-03-09T14:11:05.817" v="2740" actId="478"/>
          <ac:spMkLst>
            <pc:docMk/>
            <pc:sldMk cId="265154065" sldId="365"/>
            <ac:spMk id="2" creationId="{C6667B94-8D75-4C98-A40C-F6AC765BAB94}"/>
          </ac:spMkLst>
        </pc:spChg>
        <pc:spChg chg="add del mod">
          <ac:chgData name="Baciu Lupascu, Raluca" userId="68b8499e-70c7-46a5-a7f5-08d4a146f234" providerId="ADAL" clId="{D306BB26-EB9F-4E01-A290-0111A7EB9CD4}" dt="2022-03-09T13:35:47.623" v="21" actId="6264"/>
          <ac:spMkLst>
            <pc:docMk/>
            <pc:sldMk cId="265154065" sldId="365"/>
            <ac:spMk id="3" creationId="{254D409E-2D2E-4A83-A8F6-2226C2A6CC6D}"/>
          </ac:spMkLst>
        </pc:spChg>
        <pc:spChg chg="del mod ord">
          <ac:chgData name="Baciu Lupascu, Raluca" userId="68b8499e-70c7-46a5-a7f5-08d4a146f234" providerId="ADAL" clId="{D306BB26-EB9F-4E01-A290-0111A7EB9CD4}" dt="2022-03-09T13:35:48.633" v="314"/>
          <ac:spMkLst>
            <pc:docMk/>
            <pc:sldMk cId="265154065" sldId="365"/>
            <ac:spMk id="4" creationId="{F40650A3-56E0-445E-8E0A-7290D8625735}"/>
          </ac:spMkLst>
        </pc:spChg>
        <pc:spChg chg="del mod ord">
          <ac:chgData name="Baciu Lupascu, Raluca" userId="68b8499e-70c7-46a5-a7f5-08d4a146f234" providerId="ADAL" clId="{D306BB26-EB9F-4E01-A290-0111A7EB9CD4}" dt="2022-03-09T13:35:48.634" v="316"/>
          <ac:spMkLst>
            <pc:docMk/>
            <pc:sldMk cId="265154065" sldId="365"/>
            <ac:spMk id="5" creationId="{734F384E-EC2B-4567-A8CC-7BDCFB4E35E1}"/>
          </ac:spMkLst>
        </pc:spChg>
        <pc:spChg chg="del mod ord">
          <ac:chgData name="Baciu Lupascu, Raluca" userId="68b8499e-70c7-46a5-a7f5-08d4a146f234" providerId="ADAL" clId="{D306BB26-EB9F-4E01-A290-0111A7EB9CD4}" dt="2022-03-09T13:35:48.634" v="315"/>
          <ac:spMkLst>
            <pc:docMk/>
            <pc:sldMk cId="265154065" sldId="365"/>
            <ac:spMk id="6" creationId="{F7060F68-9644-4200-A63E-B391F04EB7BD}"/>
          </ac:spMkLst>
        </pc:spChg>
        <pc:spChg chg="add del mod">
          <ac:chgData name="Baciu Lupascu, Raluca" userId="68b8499e-70c7-46a5-a7f5-08d4a146f234" providerId="ADAL" clId="{D306BB26-EB9F-4E01-A290-0111A7EB9CD4}" dt="2022-03-09T13:35:47.623" v="21" actId="6264"/>
          <ac:spMkLst>
            <pc:docMk/>
            <pc:sldMk cId="265154065" sldId="365"/>
            <ac:spMk id="9" creationId="{97FD0B25-D8BC-4230-9FFB-D9E4EFF394A5}"/>
          </ac:spMkLst>
        </pc:spChg>
        <pc:spChg chg="add del mod">
          <ac:chgData name="Baciu Lupascu, Raluca" userId="68b8499e-70c7-46a5-a7f5-08d4a146f234" providerId="ADAL" clId="{D306BB26-EB9F-4E01-A290-0111A7EB9CD4}" dt="2022-03-09T13:35:47.623" v="21" actId="6264"/>
          <ac:spMkLst>
            <pc:docMk/>
            <pc:sldMk cId="265154065" sldId="365"/>
            <ac:spMk id="10" creationId="{9B851E16-9869-4D5D-88AB-EB46E065F42D}"/>
          </ac:spMkLst>
        </pc:spChg>
        <pc:spChg chg="add del mod">
          <ac:chgData name="Baciu Lupascu, Raluca" userId="68b8499e-70c7-46a5-a7f5-08d4a146f234" providerId="ADAL" clId="{D306BB26-EB9F-4E01-A290-0111A7EB9CD4}" dt="2022-03-09T13:35:47.623" v="21" actId="6264"/>
          <ac:spMkLst>
            <pc:docMk/>
            <pc:sldMk cId="265154065" sldId="365"/>
            <ac:spMk id="11" creationId="{5B718379-CEC9-43B4-8C9D-D48C45CC232F}"/>
          </ac:spMkLst>
        </pc:spChg>
        <pc:spChg chg="add del mod ord">
          <ac:chgData name="Baciu Lupascu, Raluca" userId="68b8499e-70c7-46a5-a7f5-08d4a146f234" providerId="ADAL" clId="{D306BB26-EB9F-4E01-A290-0111A7EB9CD4}" dt="2022-03-09T13:35:48.646" v="321"/>
          <ac:spMkLst>
            <pc:docMk/>
            <pc:sldMk cId="265154065" sldId="365"/>
            <ac:spMk id="12" creationId="{83B5615F-B126-4396-8B78-D13324A2D6F7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5154065" sldId="365"/>
            <ac:spMk id="13" creationId="{9ECB180D-32D3-4716-9658-E7418B643EA8}"/>
          </ac:spMkLst>
        </pc:spChg>
        <pc:spChg chg="add del mod">
          <ac:chgData name="Baciu Lupascu, Raluca" userId="68b8499e-70c7-46a5-a7f5-08d4a146f234" providerId="ADAL" clId="{D306BB26-EB9F-4E01-A290-0111A7EB9CD4}" dt="2022-03-09T13:35:56.367" v="1957"/>
          <ac:spMkLst>
            <pc:docMk/>
            <pc:sldMk cId="265154065" sldId="365"/>
            <ac:spMk id="14" creationId="{23FFB1D4-F41E-431F-9592-298A25E49AA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5154065" sldId="365"/>
            <ac:spMk id="15" creationId="{32E285B6-A58B-48D3-A386-B3DA5AF5E4E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5154065" sldId="365"/>
            <ac:spMk id="16" creationId="{BFD2BE3C-55FE-460A-9A5F-19CAF77815BD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5154065" sldId="365"/>
            <ac:spMk id="17" creationId="{D8955E8C-91B1-4357-B54E-909ECB54A731}"/>
          </ac:spMkLst>
        </pc:spChg>
        <pc:spChg chg="add del mod ord">
          <ac:chgData name="Baciu Lupascu, Raluca" userId="68b8499e-70c7-46a5-a7f5-08d4a146f234" providerId="ADAL" clId="{D306BB26-EB9F-4E01-A290-0111A7EB9CD4}" dt="2022-03-09T14:11:03.209" v="2739" actId="478"/>
          <ac:spMkLst>
            <pc:docMk/>
            <pc:sldMk cId="265154065" sldId="365"/>
            <ac:spMk id="18" creationId="{F883E518-9B36-4A4C-AA1A-5E666CFF858C}"/>
          </ac:spMkLst>
        </pc:spChg>
        <pc:spChg chg="add del mod">
          <ac:chgData name="Baciu Lupascu, Raluca" userId="68b8499e-70c7-46a5-a7f5-08d4a146f234" providerId="ADAL" clId="{D306BB26-EB9F-4E01-A290-0111A7EB9CD4}" dt="2022-03-09T14:11:08.568" v="2741" actId="478"/>
          <ac:spMkLst>
            <pc:docMk/>
            <pc:sldMk cId="265154065" sldId="365"/>
            <ac:spMk id="20" creationId="{56A3BD89-1803-458B-A397-2761B8E7A2F4}"/>
          </ac:spMkLst>
        </pc:spChg>
        <pc:spChg chg="add del mod">
          <ac:chgData name="Baciu Lupascu, Raluca" userId="68b8499e-70c7-46a5-a7f5-08d4a146f234" providerId="ADAL" clId="{D306BB26-EB9F-4E01-A290-0111A7EB9CD4}" dt="2022-03-09T14:16:02.908" v="2883"/>
          <ac:spMkLst>
            <pc:docMk/>
            <pc:sldMk cId="265154065" sldId="365"/>
            <ac:spMk id="21" creationId="{35167861-AACB-4FD0-87E8-89AD5FC4634E}"/>
          </ac:spMkLst>
        </pc:spChg>
        <pc:spChg chg="add del mod">
          <ac:chgData name="Baciu Lupascu, Raluca" userId="68b8499e-70c7-46a5-a7f5-08d4a146f234" providerId="ADAL" clId="{D306BB26-EB9F-4E01-A290-0111A7EB9CD4}" dt="2022-03-09T14:16:02.908" v="2883"/>
          <ac:spMkLst>
            <pc:docMk/>
            <pc:sldMk cId="265154065" sldId="365"/>
            <ac:spMk id="22" creationId="{DBB420D2-9F06-481A-ACA4-8ADC3CBE5A0B}"/>
          </ac:spMkLst>
        </pc:spChg>
        <pc:picChg chg="mod">
          <ac:chgData name="Baciu Lupascu, Raluca" userId="68b8499e-70c7-46a5-a7f5-08d4a146f234" providerId="ADAL" clId="{D306BB26-EB9F-4E01-A290-0111A7EB9CD4}" dt="2022-03-09T14:17:01.490" v="2894" actId="1035"/>
          <ac:picMkLst>
            <pc:docMk/>
            <pc:sldMk cId="265154065" sldId="365"/>
            <ac:picMk id="7" creationId="{89ADDB4C-D286-4CD4-B156-76C4250944BB}"/>
          </ac:picMkLst>
        </pc:picChg>
        <pc:picChg chg="mod">
          <ac:chgData name="Baciu Lupascu, Raluca" userId="68b8499e-70c7-46a5-a7f5-08d4a146f234" providerId="ADAL" clId="{D306BB26-EB9F-4E01-A290-0111A7EB9CD4}" dt="2022-03-09T14:17:01.490" v="2894" actId="1035"/>
          <ac:picMkLst>
            <pc:docMk/>
            <pc:sldMk cId="265154065" sldId="365"/>
            <ac:picMk id="8" creationId="{B9123382-DE81-4D09-8A8C-02DC441B664F}"/>
          </ac:picMkLst>
        </pc:picChg>
      </pc:sldChg>
      <pc:sldChg chg="addSp delSp modSp add del mod modTransition modClrScheme chgLayout modNotes">
        <pc:chgData name="Baciu Lupascu, Raluca" userId="68b8499e-70c7-46a5-a7f5-08d4a146f234" providerId="ADAL" clId="{D306BB26-EB9F-4E01-A290-0111A7EB9CD4}" dt="2022-03-09T14:18:40.043" v="2919" actId="12"/>
        <pc:sldMkLst>
          <pc:docMk/>
          <pc:sldMk cId="261428480" sldId="366"/>
        </pc:sldMkLst>
        <pc:spChg chg="add del mod">
          <ac:chgData name="Baciu Lupascu, Raluca" userId="68b8499e-70c7-46a5-a7f5-08d4a146f234" providerId="ADAL" clId="{D306BB26-EB9F-4E01-A290-0111A7EB9CD4}" dt="2022-03-09T13:35:47.642" v="22" actId="6264"/>
          <ac:spMkLst>
            <pc:docMk/>
            <pc:sldMk cId="261428480" sldId="366"/>
            <ac:spMk id="2" creationId="{9CD15D3D-52EC-44B2-BB95-02769FA00734}"/>
          </ac:spMkLst>
        </pc:spChg>
        <pc:spChg chg="add del mod">
          <ac:chgData name="Baciu Lupascu, Raluca" userId="68b8499e-70c7-46a5-a7f5-08d4a146f234" providerId="ADAL" clId="{D306BB26-EB9F-4E01-A290-0111A7EB9CD4}" dt="2022-03-09T13:35:47.642" v="22" actId="6264"/>
          <ac:spMkLst>
            <pc:docMk/>
            <pc:sldMk cId="261428480" sldId="366"/>
            <ac:spMk id="3" creationId="{D3FCF1F4-EB1C-4A44-AED9-4C8151ECD6CB}"/>
          </ac:spMkLst>
        </pc:spChg>
        <pc:spChg chg="del mod ord">
          <ac:chgData name="Baciu Lupascu, Raluca" userId="68b8499e-70c7-46a5-a7f5-08d4a146f234" providerId="ADAL" clId="{D306BB26-EB9F-4E01-A290-0111A7EB9CD4}" dt="2022-03-09T13:35:48.647" v="325"/>
          <ac:spMkLst>
            <pc:docMk/>
            <pc:sldMk cId="261428480" sldId="366"/>
            <ac:spMk id="4" creationId="{5C1B4668-2D95-4873-AED8-F2AF3F828D71}"/>
          </ac:spMkLst>
        </pc:spChg>
        <pc:spChg chg="del mod ord">
          <ac:chgData name="Baciu Lupascu, Raluca" userId="68b8499e-70c7-46a5-a7f5-08d4a146f234" providerId="ADAL" clId="{D306BB26-EB9F-4E01-A290-0111A7EB9CD4}" dt="2022-03-09T13:35:48.647" v="327"/>
          <ac:spMkLst>
            <pc:docMk/>
            <pc:sldMk cId="261428480" sldId="366"/>
            <ac:spMk id="5" creationId="{180567B9-0923-4971-B8C1-37D5A774D697}"/>
          </ac:spMkLst>
        </pc:spChg>
        <pc:spChg chg="del mod ord">
          <ac:chgData name="Baciu Lupascu, Raluca" userId="68b8499e-70c7-46a5-a7f5-08d4a146f234" providerId="ADAL" clId="{D306BB26-EB9F-4E01-A290-0111A7EB9CD4}" dt="2022-03-09T13:35:48.647" v="326"/>
          <ac:spMkLst>
            <pc:docMk/>
            <pc:sldMk cId="261428480" sldId="366"/>
            <ac:spMk id="6" creationId="{C1222D5F-9A67-432B-812F-CEB47E89C110}"/>
          </ac:spMkLst>
        </pc:spChg>
        <pc:spChg chg="mod">
          <ac:chgData name="Baciu Lupascu, Raluca" userId="68b8499e-70c7-46a5-a7f5-08d4a146f234" providerId="ADAL" clId="{D306BB26-EB9F-4E01-A290-0111A7EB9CD4}" dt="2022-03-09T14:18:40.043" v="2919" actId="12"/>
          <ac:spMkLst>
            <pc:docMk/>
            <pc:sldMk cId="261428480" sldId="366"/>
            <ac:spMk id="8" creationId="{F0F8A940-3A00-4EA9-A96D-1F3989A321A9}"/>
          </ac:spMkLst>
        </pc:spChg>
        <pc:spChg chg="add del mod">
          <ac:chgData name="Baciu Lupascu, Raluca" userId="68b8499e-70c7-46a5-a7f5-08d4a146f234" providerId="ADAL" clId="{D306BB26-EB9F-4E01-A290-0111A7EB9CD4}" dt="2022-03-09T13:35:47.642" v="22" actId="6264"/>
          <ac:spMkLst>
            <pc:docMk/>
            <pc:sldMk cId="261428480" sldId="366"/>
            <ac:spMk id="9" creationId="{588CFCB3-AF76-49FB-A836-3FB649C40C95}"/>
          </ac:spMkLst>
        </pc:spChg>
        <pc:spChg chg="add del mod">
          <ac:chgData name="Baciu Lupascu, Raluca" userId="68b8499e-70c7-46a5-a7f5-08d4a146f234" providerId="ADAL" clId="{D306BB26-EB9F-4E01-A290-0111A7EB9CD4}" dt="2022-03-09T13:35:47.642" v="22" actId="6264"/>
          <ac:spMkLst>
            <pc:docMk/>
            <pc:sldMk cId="261428480" sldId="366"/>
            <ac:spMk id="10" creationId="{49751000-F998-4836-AC9C-765D99EAB938}"/>
          </ac:spMkLst>
        </pc:spChg>
        <pc:spChg chg="add del mod ord">
          <ac:chgData name="Baciu Lupascu, Raluca" userId="68b8499e-70c7-46a5-a7f5-08d4a146f234" providerId="ADAL" clId="{D306BB26-EB9F-4E01-A290-0111A7EB9CD4}" dt="2022-03-09T13:35:48.659" v="332"/>
          <ac:spMkLst>
            <pc:docMk/>
            <pc:sldMk cId="261428480" sldId="366"/>
            <ac:spMk id="11" creationId="{B02FA900-48F4-4F39-921D-3166DC70AFD5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1428480" sldId="366"/>
            <ac:spMk id="12" creationId="{6C3AFE3B-BC48-4EBB-8FC9-DCF474695907}"/>
          </ac:spMkLst>
        </pc:spChg>
        <pc:spChg chg="add del mod">
          <ac:chgData name="Baciu Lupascu, Raluca" userId="68b8499e-70c7-46a5-a7f5-08d4a146f234" providerId="ADAL" clId="{D306BB26-EB9F-4E01-A290-0111A7EB9CD4}" dt="2022-03-09T13:35:56.369" v="1962"/>
          <ac:spMkLst>
            <pc:docMk/>
            <pc:sldMk cId="261428480" sldId="366"/>
            <ac:spMk id="13" creationId="{356E57A7-5366-4151-B555-58B67292A8C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1428480" sldId="366"/>
            <ac:spMk id="14" creationId="{861418F5-41A8-438B-9C01-404041B59C4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1428480" sldId="366"/>
            <ac:spMk id="15" creationId="{4FBA07C3-DAAE-4535-890F-4B14BD5A34D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61428480" sldId="366"/>
            <ac:spMk id="16" creationId="{DA329CA2-4148-4695-949A-287746F3CE47}"/>
          </ac:spMkLst>
        </pc:spChg>
        <pc:spChg chg="add del mod ord">
          <ac:chgData name="Baciu Lupascu, Raluca" userId="68b8499e-70c7-46a5-a7f5-08d4a146f234" providerId="ADAL" clId="{D306BB26-EB9F-4E01-A290-0111A7EB9CD4}" dt="2022-03-09T14:17:19.129" v="2895" actId="478"/>
          <ac:spMkLst>
            <pc:docMk/>
            <pc:sldMk cId="261428480" sldId="366"/>
            <ac:spMk id="17" creationId="{B43EAA68-4D78-4824-AC41-C157482B5089}"/>
          </ac:spMkLst>
        </pc:spChg>
        <pc:picChg chg="mod ord">
          <ac:chgData name="Baciu Lupascu, Raluca" userId="68b8499e-70c7-46a5-a7f5-08d4a146f234" providerId="ADAL" clId="{D306BB26-EB9F-4E01-A290-0111A7EB9CD4}" dt="2022-03-09T14:17:23.563" v="2896" actId="1076"/>
          <ac:picMkLst>
            <pc:docMk/>
            <pc:sldMk cId="261428480" sldId="366"/>
            <ac:picMk id="7" creationId="{2B53F10F-F10B-48E6-BF5E-B84032A93A8E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3:57:05.041" v="2526" actId="14100"/>
        <pc:sldMkLst>
          <pc:docMk/>
          <pc:sldMk cId="2161531663" sldId="367"/>
        </pc:sldMkLst>
        <pc:spChg chg="mod ord">
          <ac:chgData name="Baciu Lupascu, Raluca" userId="68b8499e-70c7-46a5-a7f5-08d4a146f234" providerId="ADAL" clId="{D306BB26-EB9F-4E01-A290-0111A7EB9CD4}" dt="2022-03-09T13:57:05.041" v="2526" actId="14100"/>
          <ac:spMkLst>
            <pc:docMk/>
            <pc:sldMk cId="2161531663" sldId="367"/>
            <ac:spMk id="2" creationId="{B866411F-C0F7-44B3-A49E-D5FCF61B4683}"/>
          </ac:spMkLst>
        </pc:spChg>
        <pc:spChg chg="mod ord">
          <ac:chgData name="Baciu Lupascu, Raluca" userId="68b8499e-70c7-46a5-a7f5-08d4a146f234" providerId="ADAL" clId="{D306BB26-EB9F-4E01-A290-0111A7EB9CD4}" dt="2022-03-09T13:57:02.177" v="2525" actId="14100"/>
          <ac:spMkLst>
            <pc:docMk/>
            <pc:sldMk cId="2161531663" sldId="367"/>
            <ac:spMk id="3" creationId="{83BDEEDA-9702-4A47-ABDF-2A32DA2362C0}"/>
          </ac:spMkLst>
        </pc:spChg>
        <pc:spChg chg="del mod ord">
          <ac:chgData name="Baciu Lupascu, Raluca" userId="68b8499e-70c7-46a5-a7f5-08d4a146f234" providerId="ADAL" clId="{D306BB26-EB9F-4E01-A290-0111A7EB9CD4}" dt="2022-03-09T13:35:48.411" v="151"/>
          <ac:spMkLst>
            <pc:docMk/>
            <pc:sldMk cId="2161531663" sldId="367"/>
            <ac:spMk id="4" creationId="{E2FE91E7-CF11-4536-AB74-F3F5F0005A61}"/>
          </ac:spMkLst>
        </pc:spChg>
        <pc:spChg chg="del mod ord">
          <ac:chgData name="Baciu Lupascu, Raluca" userId="68b8499e-70c7-46a5-a7f5-08d4a146f234" providerId="ADAL" clId="{D306BB26-EB9F-4E01-A290-0111A7EB9CD4}" dt="2022-03-09T13:35:48.411" v="153"/>
          <ac:spMkLst>
            <pc:docMk/>
            <pc:sldMk cId="2161531663" sldId="367"/>
            <ac:spMk id="5" creationId="{455D9384-C0E7-4F2A-B9FA-5B4CDA85A101}"/>
          </ac:spMkLst>
        </pc:spChg>
        <pc:spChg chg="del mod ord">
          <ac:chgData name="Baciu Lupascu, Raluca" userId="68b8499e-70c7-46a5-a7f5-08d4a146f234" providerId="ADAL" clId="{D306BB26-EB9F-4E01-A290-0111A7EB9CD4}" dt="2022-03-09T13:35:48.411" v="152"/>
          <ac:spMkLst>
            <pc:docMk/>
            <pc:sldMk cId="2161531663" sldId="367"/>
            <ac:spMk id="6" creationId="{8830EDA9-AD11-4C61-8071-9FFDDE3CE48B}"/>
          </ac:spMkLst>
        </pc:spChg>
        <pc:spChg chg="add del mod">
          <ac:chgData name="Baciu Lupascu, Raluca" userId="68b8499e-70c7-46a5-a7f5-08d4a146f234" providerId="ADAL" clId="{D306BB26-EB9F-4E01-A290-0111A7EB9CD4}" dt="2022-03-09T13:35:47.351" v="7" actId="6264"/>
          <ac:spMkLst>
            <pc:docMk/>
            <pc:sldMk cId="2161531663" sldId="367"/>
            <ac:spMk id="7" creationId="{960694D9-A3B3-47DD-A8D4-9E217F78939B}"/>
          </ac:spMkLst>
        </pc:spChg>
        <pc:spChg chg="add del mod">
          <ac:chgData name="Baciu Lupascu, Raluca" userId="68b8499e-70c7-46a5-a7f5-08d4a146f234" providerId="ADAL" clId="{D306BB26-EB9F-4E01-A290-0111A7EB9CD4}" dt="2022-03-09T13:35:47.351" v="7" actId="6264"/>
          <ac:spMkLst>
            <pc:docMk/>
            <pc:sldMk cId="2161531663" sldId="367"/>
            <ac:spMk id="8" creationId="{5AB8475B-A5A8-42AF-AB53-3717B1BDE2E5}"/>
          </ac:spMkLst>
        </pc:spChg>
        <pc:spChg chg="add del mod">
          <ac:chgData name="Baciu Lupascu, Raluca" userId="68b8499e-70c7-46a5-a7f5-08d4a146f234" providerId="ADAL" clId="{D306BB26-EB9F-4E01-A290-0111A7EB9CD4}" dt="2022-03-09T13:35:47.351" v="7" actId="6264"/>
          <ac:spMkLst>
            <pc:docMk/>
            <pc:sldMk cId="2161531663" sldId="367"/>
            <ac:spMk id="9" creationId="{DFD9C97E-DEA6-4EEA-A23E-A7B75B36BC5D}"/>
          </ac:spMkLst>
        </pc:spChg>
        <pc:spChg chg="add del mod">
          <ac:chgData name="Baciu Lupascu, Raluca" userId="68b8499e-70c7-46a5-a7f5-08d4a146f234" providerId="ADAL" clId="{D306BB26-EB9F-4E01-A290-0111A7EB9CD4}" dt="2022-03-09T13:35:47.351" v="7" actId="6264"/>
          <ac:spMkLst>
            <pc:docMk/>
            <pc:sldMk cId="2161531663" sldId="367"/>
            <ac:spMk id="10" creationId="{3FAD4E99-5774-4B32-B95B-FA6F19C8BB08}"/>
          </ac:spMkLst>
        </pc:spChg>
        <pc:spChg chg="add del mod">
          <ac:chgData name="Baciu Lupascu, Raluca" userId="68b8499e-70c7-46a5-a7f5-08d4a146f234" providerId="ADAL" clId="{D306BB26-EB9F-4E01-A290-0111A7EB9CD4}" dt="2022-03-09T13:35:47.351" v="7" actId="6264"/>
          <ac:spMkLst>
            <pc:docMk/>
            <pc:sldMk cId="2161531663" sldId="367"/>
            <ac:spMk id="11" creationId="{9AA5E34B-8727-4B9A-AAB2-10D9866A6EC8}"/>
          </ac:spMkLst>
        </pc:spChg>
        <pc:spChg chg="add del mod">
          <ac:chgData name="Baciu Lupascu, Raluca" userId="68b8499e-70c7-46a5-a7f5-08d4a146f234" providerId="ADAL" clId="{D306BB26-EB9F-4E01-A290-0111A7EB9CD4}" dt="2022-03-09T13:35:56.341" v="1887"/>
          <ac:spMkLst>
            <pc:docMk/>
            <pc:sldMk cId="2161531663" sldId="367"/>
            <ac:spMk id="12" creationId="{C1D67F9B-8E35-4A2C-984A-2B2DA33FFA44}"/>
          </ac:spMkLst>
        </pc:spChg>
        <pc:spChg chg="add mod">
          <ac:chgData name="Baciu Lupascu, Raluca" userId="68b8499e-70c7-46a5-a7f5-08d4a146f234" providerId="ADAL" clId="{D306BB26-EB9F-4E01-A290-0111A7EB9CD4}" dt="2022-03-09T13:40:36.758" v="2185" actId="26606"/>
          <ac:spMkLst>
            <pc:docMk/>
            <pc:sldMk cId="2161531663" sldId="367"/>
            <ac:spMk id="13" creationId="{44E77A18-A420-4DD3-8D9E-3392796E26C4}"/>
          </ac:spMkLst>
        </pc:spChg>
        <pc:spChg chg="add mod">
          <ac:chgData name="Baciu Lupascu, Raluca" userId="68b8499e-70c7-46a5-a7f5-08d4a146f234" providerId="ADAL" clId="{D306BB26-EB9F-4E01-A290-0111A7EB9CD4}" dt="2022-03-09T13:40:36.758" v="2185" actId="26606"/>
          <ac:spMkLst>
            <pc:docMk/>
            <pc:sldMk cId="2161531663" sldId="367"/>
            <ac:spMk id="14" creationId="{CB2E3E8F-D350-484A-B4EB-5F35D01DDBD6}"/>
          </ac:spMkLst>
        </pc:spChg>
        <pc:spChg chg="add mod ord">
          <ac:chgData name="Baciu Lupascu, Raluca" userId="68b8499e-70c7-46a5-a7f5-08d4a146f234" providerId="ADAL" clId="{D306BB26-EB9F-4E01-A290-0111A7EB9CD4}" dt="2022-03-09T13:40:36.758" v="2185" actId="26606"/>
          <ac:spMkLst>
            <pc:docMk/>
            <pc:sldMk cId="2161531663" sldId="367"/>
            <ac:spMk id="15" creationId="{61CCA08A-6E16-4ACC-AE3E-79ED3816AF40}"/>
          </ac:spMkLst>
        </pc:spChg>
        <pc:spChg chg="add del mod">
          <ac:chgData name="Baciu Lupascu, Raluca" userId="68b8499e-70c7-46a5-a7f5-08d4a146f234" providerId="ADAL" clId="{D306BB26-EB9F-4E01-A290-0111A7EB9CD4}" dt="2022-03-09T13:40:31.204" v="2184" actId="478"/>
          <ac:spMkLst>
            <pc:docMk/>
            <pc:sldMk cId="2161531663" sldId="367"/>
            <ac:spMk id="20" creationId="{AF3FCD07-9B9A-420C-B1DE-CD2C585BFD69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19:22.736" v="2925"/>
        <pc:sldMkLst>
          <pc:docMk/>
          <pc:sldMk cId="4009311236" sldId="368"/>
        </pc:sldMkLst>
        <pc:spChg chg="del mod ord">
          <ac:chgData name="Baciu Lupascu, Raluca" userId="68b8499e-70c7-46a5-a7f5-08d4a146f234" providerId="ADAL" clId="{D306BB26-EB9F-4E01-A290-0111A7EB9CD4}" dt="2022-03-09T14:19:07.058" v="2923" actId="478"/>
          <ac:spMkLst>
            <pc:docMk/>
            <pc:sldMk cId="4009311236" sldId="368"/>
            <ac:spMk id="2" creationId="{55C727AD-E957-45E5-A502-AAAAF54E929F}"/>
          </ac:spMkLst>
        </pc:spChg>
        <pc:spChg chg="del mod ord">
          <ac:chgData name="Baciu Lupascu, Raluca" userId="68b8499e-70c7-46a5-a7f5-08d4a146f234" providerId="ADAL" clId="{D306BB26-EB9F-4E01-A290-0111A7EB9CD4}" dt="2022-03-09T14:19:04.382" v="2921" actId="478"/>
          <ac:spMkLst>
            <pc:docMk/>
            <pc:sldMk cId="4009311236" sldId="368"/>
            <ac:spMk id="3" creationId="{DD2A420F-2E24-4D99-9738-53A995D072EF}"/>
          </ac:spMkLst>
        </pc:spChg>
        <pc:spChg chg="del mod ord">
          <ac:chgData name="Baciu Lupascu, Raluca" userId="68b8499e-70c7-46a5-a7f5-08d4a146f234" providerId="ADAL" clId="{D306BB26-EB9F-4E01-A290-0111A7EB9CD4}" dt="2022-03-09T13:35:48.660" v="336"/>
          <ac:spMkLst>
            <pc:docMk/>
            <pc:sldMk cId="4009311236" sldId="368"/>
            <ac:spMk id="4" creationId="{2C12E52C-6B04-4936-99B2-11E371FF6915}"/>
          </ac:spMkLst>
        </pc:spChg>
        <pc:spChg chg="del mod ord">
          <ac:chgData name="Baciu Lupascu, Raluca" userId="68b8499e-70c7-46a5-a7f5-08d4a146f234" providerId="ADAL" clId="{D306BB26-EB9F-4E01-A290-0111A7EB9CD4}" dt="2022-03-09T13:35:48.660" v="338"/>
          <ac:spMkLst>
            <pc:docMk/>
            <pc:sldMk cId="4009311236" sldId="368"/>
            <ac:spMk id="5" creationId="{A37C4538-DF52-44B2-89C6-E838BD9080C3}"/>
          </ac:spMkLst>
        </pc:spChg>
        <pc:spChg chg="del mod ord">
          <ac:chgData name="Baciu Lupascu, Raluca" userId="68b8499e-70c7-46a5-a7f5-08d4a146f234" providerId="ADAL" clId="{D306BB26-EB9F-4E01-A290-0111A7EB9CD4}" dt="2022-03-09T13:35:48.660" v="337"/>
          <ac:spMkLst>
            <pc:docMk/>
            <pc:sldMk cId="4009311236" sldId="368"/>
            <ac:spMk id="6" creationId="{FBEEB800-A808-44F6-88BF-9792BFB7317E}"/>
          </ac:spMkLst>
        </pc:spChg>
        <pc:spChg chg="add del mod">
          <ac:chgData name="Baciu Lupascu, Raluca" userId="68b8499e-70c7-46a5-a7f5-08d4a146f234" providerId="ADAL" clId="{D306BB26-EB9F-4E01-A290-0111A7EB9CD4}" dt="2022-03-09T13:35:47.658" v="23" actId="6264"/>
          <ac:spMkLst>
            <pc:docMk/>
            <pc:sldMk cId="4009311236" sldId="368"/>
            <ac:spMk id="7" creationId="{32FD7C51-EC08-4DD6-A116-0B99D0762961}"/>
          </ac:spMkLst>
        </pc:spChg>
        <pc:spChg chg="add del mod">
          <ac:chgData name="Baciu Lupascu, Raluca" userId="68b8499e-70c7-46a5-a7f5-08d4a146f234" providerId="ADAL" clId="{D306BB26-EB9F-4E01-A290-0111A7EB9CD4}" dt="2022-03-09T13:35:47.658" v="23" actId="6264"/>
          <ac:spMkLst>
            <pc:docMk/>
            <pc:sldMk cId="4009311236" sldId="368"/>
            <ac:spMk id="8" creationId="{064332AC-5E69-4642-84C6-B96174756C4F}"/>
          </ac:spMkLst>
        </pc:spChg>
        <pc:spChg chg="add del mod">
          <ac:chgData name="Baciu Lupascu, Raluca" userId="68b8499e-70c7-46a5-a7f5-08d4a146f234" providerId="ADAL" clId="{D306BB26-EB9F-4E01-A290-0111A7EB9CD4}" dt="2022-03-09T13:35:47.658" v="23" actId="6264"/>
          <ac:spMkLst>
            <pc:docMk/>
            <pc:sldMk cId="4009311236" sldId="368"/>
            <ac:spMk id="9" creationId="{8105036D-7A49-408A-917D-A534282FAC06}"/>
          </ac:spMkLst>
        </pc:spChg>
        <pc:spChg chg="add del mod">
          <ac:chgData name="Baciu Lupascu, Raluca" userId="68b8499e-70c7-46a5-a7f5-08d4a146f234" providerId="ADAL" clId="{D306BB26-EB9F-4E01-A290-0111A7EB9CD4}" dt="2022-03-09T13:35:47.658" v="23" actId="6264"/>
          <ac:spMkLst>
            <pc:docMk/>
            <pc:sldMk cId="4009311236" sldId="368"/>
            <ac:spMk id="10" creationId="{98D7C764-AB67-4E77-A8CA-FF753EE3F92B}"/>
          </ac:spMkLst>
        </pc:spChg>
        <pc:spChg chg="add del mod">
          <ac:chgData name="Baciu Lupascu, Raluca" userId="68b8499e-70c7-46a5-a7f5-08d4a146f234" providerId="ADAL" clId="{D306BB26-EB9F-4E01-A290-0111A7EB9CD4}" dt="2022-03-09T13:35:47.658" v="23" actId="6264"/>
          <ac:spMkLst>
            <pc:docMk/>
            <pc:sldMk cId="4009311236" sldId="368"/>
            <ac:spMk id="11" creationId="{7E14D380-997F-4A64-9D84-00F771B076C1}"/>
          </ac:spMkLst>
        </pc:spChg>
        <pc:spChg chg="add del mod">
          <ac:chgData name="Baciu Lupascu, Raluca" userId="68b8499e-70c7-46a5-a7f5-08d4a146f234" providerId="ADAL" clId="{D306BB26-EB9F-4E01-A290-0111A7EB9CD4}" dt="2022-03-09T13:35:56.371" v="1967"/>
          <ac:spMkLst>
            <pc:docMk/>
            <pc:sldMk cId="4009311236" sldId="368"/>
            <ac:spMk id="12" creationId="{33B65ED8-1E9E-4925-92BD-6FE02D86778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09311236" sldId="368"/>
            <ac:spMk id="13" creationId="{7655F89F-453A-4769-8496-6B612DF5D3C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09311236" sldId="368"/>
            <ac:spMk id="14" creationId="{C99796A8-D0A8-4F0B-8B94-DEF47B98F86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09311236" sldId="368"/>
            <ac:spMk id="15" creationId="{9268ACDF-BF1D-4A5E-9EC9-0A80C9998B89}"/>
          </ac:spMkLst>
        </pc:spChg>
        <pc:spChg chg="add del mod">
          <ac:chgData name="Baciu Lupascu, Raluca" userId="68b8499e-70c7-46a5-a7f5-08d4a146f234" providerId="ADAL" clId="{D306BB26-EB9F-4E01-A290-0111A7EB9CD4}" dt="2022-03-09T14:19:05.805" v="2922" actId="478"/>
          <ac:spMkLst>
            <pc:docMk/>
            <pc:sldMk cId="4009311236" sldId="368"/>
            <ac:spMk id="17" creationId="{6E7559DC-9E4F-44A2-9018-A53CAF74DDC5}"/>
          </ac:spMkLst>
        </pc:spChg>
        <pc:spChg chg="add del mod">
          <ac:chgData name="Baciu Lupascu, Raluca" userId="68b8499e-70c7-46a5-a7f5-08d4a146f234" providerId="ADAL" clId="{D306BB26-EB9F-4E01-A290-0111A7EB9CD4}" dt="2022-03-09T14:19:09.296" v="2924" actId="478"/>
          <ac:spMkLst>
            <pc:docMk/>
            <pc:sldMk cId="4009311236" sldId="368"/>
            <ac:spMk id="19" creationId="{61FEA057-CD97-4B63-9F9E-B0A907F7E0F3}"/>
          </ac:spMkLst>
        </pc:spChg>
        <pc:spChg chg="add mod">
          <ac:chgData name="Baciu Lupascu, Raluca" userId="68b8499e-70c7-46a5-a7f5-08d4a146f234" providerId="ADAL" clId="{D306BB26-EB9F-4E01-A290-0111A7EB9CD4}" dt="2022-03-09T14:19:22.736" v="2925"/>
          <ac:spMkLst>
            <pc:docMk/>
            <pc:sldMk cId="4009311236" sldId="368"/>
            <ac:spMk id="20" creationId="{EE05CA35-6A52-4FDC-8382-1E6E267900F5}"/>
          </ac:spMkLst>
        </pc:spChg>
        <pc:spChg chg="add mod">
          <ac:chgData name="Baciu Lupascu, Raluca" userId="68b8499e-70c7-46a5-a7f5-08d4a146f234" providerId="ADAL" clId="{D306BB26-EB9F-4E01-A290-0111A7EB9CD4}" dt="2022-03-09T14:19:22.736" v="2925"/>
          <ac:spMkLst>
            <pc:docMk/>
            <pc:sldMk cId="4009311236" sldId="368"/>
            <ac:spMk id="21" creationId="{646471C4-AE07-40B3-93C7-E16F37394A74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6:12.602" v="3021"/>
        <pc:sldMkLst>
          <pc:docMk/>
          <pc:sldMk cId="3862561832" sldId="369"/>
        </pc:sldMkLst>
        <pc:spChg chg="del mod ord">
          <ac:chgData name="Baciu Lupascu, Raluca" userId="68b8499e-70c7-46a5-a7f5-08d4a146f234" providerId="ADAL" clId="{D306BB26-EB9F-4E01-A290-0111A7EB9CD4}" dt="2022-03-09T14:26:02.812" v="3019" actId="478"/>
          <ac:spMkLst>
            <pc:docMk/>
            <pc:sldMk cId="3862561832" sldId="369"/>
            <ac:spMk id="2" creationId="{E9B479C6-4F73-43AC-A650-36392E302B28}"/>
          </ac:spMkLst>
        </pc:spChg>
        <pc:spChg chg="mod ord">
          <ac:chgData name="Baciu Lupascu, Raluca" userId="68b8499e-70c7-46a5-a7f5-08d4a146f234" providerId="ADAL" clId="{D306BB26-EB9F-4E01-A290-0111A7EB9CD4}" dt="2022-03-09T14:25:50.845" v="3016" actId="14100"/>
          <ac:spMkLst>
            <pc:docMk/>
            <pc:sldMk cId="3862561832" sldId="369"/>
            <ac:spMk id="3" creationId="{8C0F2365-05BF-4F44-BF68-5502B2AD339D}"/>
          </ac:spMkLst>
        </pc:spChg>
        <pc:spChg chg="del mod ord">
          <ac:chgData name="Baciu Lupascu, Raluca" userId="68b8499e-70c7-46a5-a7f5-08d4a146f234" providerId="ADAL" clId="{D306BB26-EB9F-4E01-A290-0111A7EB9CD4}" dt="2022-03-09T13:35:48.742" v="407"/>
          <ac:spMkLst>
            <pc:docMk/>
            <pc:sldMk cId="3862561832" sldId="369"/>
            <ac:spMk id="4" creationId="{F0F5C75C-01D0-422C-A9C1-7556BA68A5F3}"/>
          </ac:spMkLst>
        </pc:spChg>
        <pc:spChg chg="del mod ord">
          <ac:chgData name="Baciu Lupascu, Raluca" userId="68b8499e-70c7-46a5-a7f5-08d4a146f234" providerId="ADAL" clId="{D306BB26-EB9F-4E01-A290-0111A7EB9CD4}" dt="2022-03-09T13:35:48.743" v="409"/>
          <ac:spMkLst>
            <pc:docMk/>
            <pc:sldMk cId="3862561832" sldId="369"/>
            <ac:spMk id="5" creationId="{A61D7303-27E2-405B-A0EF-DD9609779D8B}"/>
          </ac:spMkLst>
        </pc:spChg>
        <pc:spChg chg="del mod ord">
          <ac:chgData name="Baciu Lupascu, Raluca" userId="68b8499e-70c7-46a5-a7f5-08d4a146f234" providerId="ADAL" clId="{D306BB26-EB9F-4E01-A290-0111A7EB9CD4}" dt="2022-03-09T13:35:48.743" v="408"/>
          <ac:spMkLst>
            <pc:docMk/>
            <pc:sldMk cId="3862561832" sldId="369"/>
            <ac:spMk id="6" creationId="{D253C232-09F2-410B-8B81-AB1E314014B6}"/>
          </ac:spMkLst>
        </pc:spChg>
        <pc:spChg chg="add del mod">
          <ac:chgData name="Baciu Lupascu, Raluca" userId="68b8499e-70c7-46a5-a7f5-08d4a146f234" providerId="ADAL" clId="{D306BB26-EB9F-4E01-A290-0111A7EB9CD4}" dt="2022-03-09T13:35:47.769" v="29" actId="6264"/>
          <ac:spMkLst>
            <pc:docMk/>
            <pc:sldMk cId="3862561832" sldId="369"/>
            <ac:spMk id="7" creationId="{4E47B510-D49B-41F8-9CC6-DC8D1337F1CF}"/>
          </ac:spMkLst>
        </pc:spChg>
        <pc:spChg chg="add del mod">
          <ac:chgData name="Baciu Lupascu, Raluca" userId="68b8499e-70c7-46a5-a7f5-08d4a146f234" providerId="ADAL" clId="{D306BB26-EB9F-4E01-A290-0111A7EB9CD4}" dt="2022-03-09T13:35:47.769" v="29" actId="6264"/>
          <ac:spMkLst>
            <pc:docMk/>
            <pc:sldMk cId="3862561832" sldId="369"/>
            <ac:spMk id="8" creationId="{20ADE405-1496-4C87-9D52-3A9886F76314}"/>
          </ac:spMkLst>
        </pc:spChg>
        <pc:spChg chg="add del mod">
          <ac:chgData name="Baciu Lupascu, Raluca" userId="68b8499e-70c7-46a5-a7f5-08d4a146f234" providerId="ADAL" clId="{D306BB26-EB9F-4E01-A290-0111A7EB9CD4}" dt="2022-03-09T13:35:47.769" v="29" actId="6264"/>
          <ac:spMkLst>
            <pc:docMk/>
            <pc:sldMk cId="3862561832" sldId="369"/>
            <ac:spMk id="9" creationId="{2D953B14-0782-4E34-98AB-A0C78A8A7247}"/>
          </ac:spMkLst>
        </pc:spChg>
        <pc:spChg chg="add del mod">
          <ac:chgData name="Baciu Lupascu, Raluca" userId="68b8499e-70c7-46a5-a7f5-08d4a146f234" providerId="ADAL" clId="{D306BB26-EB9F-4E01-A290-0111A7EB9CD4}" dt="2022-03-09T13:35:47.769" v="29" actId="6264"/>
          <ac:spMkLst>
            <pc:docMk/>
            <pc:sldMk cId="3862561832" sldId="369"/>
            <ac:spMk id="10" creationId="{81D620F3-2E84-4EC1-BD64-4D4C69826461}"/>
          </ac:spMkLst>
        </pc:spChg>
        <pc:spChg chg="add del mod">
          <ac:chgData name="Baciu Lupascu, Raluca" userId="68b8499e-70c7-46a5-a7f5-08d4a146f234" providerId="ADAL" clId="{D306BB26-EB9F-4E01-A290-0111A7EB9CD4}" dt="2022-03-09T13:35:47.769" v="29" actId="6264"/>
          <ac:spMkLst>
            <pc:docMk/>
            <pc:sldMk cId="3862561832" sldId="369"/>
            <ac:spMk id="11" creationId="{8308E7F1-6609-4031-9021-1021274B47A0}"/>
          </ac:spMkLst>
        </pc:spChg>
        <pc:spChg chg="add del mod">
          <ac:chgData name="Baciu Lupascu, Raluca" userId="68b8499e-70c7-46a5-a7f5-08d4a146f234" providerId="ADAL" clId="{D306BB26-EB9F-4E01-A290-0111A7EB9CD4}" dt="2022-03-09T13:35:56.382" v="1997"/>
          <ac:spMkLst>
            <pc:docMk/>
            <pc:sldMk cId="3862561832" sldId="369"/>
            <ac:spMk id="12" creationId="{EB6D3794-E3A4-4CE2-82F3-897794E56A81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862561832" sldId="369"/>
            <ac:spMk id="13" creationId="{BDE22818-23DC-4AC7-8702-F161DB934C2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862561832" sldId="369"/>
            <ac:spMk id="14" creationId="{4F9FCF9C-FC1B-4750-9A6E-05FFB034421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862561832" sldId="369"/>
            <ac:spMk id="15" creationId="{021F85E6-3F3F-4613-8B01-61788E3DEA50}"/>
          </ac:spMkLst>
        </pc:spChg>
        <pc:spChg chg="add del mod">
          <ac:chgData name="Baciu Lupascu, Raluca" userId="68b8499e-70c7-46a5-a7f5-08d4a146f234" providerId="ADAL" clId="{D306BB26-EB9F-4E01-A290-0111A7EB9CD4}" dt="2022-03-09T14:26:05.168" v="3020" actId="478"/>
          <ac:spMkLst>
            <pc:docMk/>
            <pc:sldMk cId="3862561832" sldId="369"/>
            <ac:spMk id="17" creationId="{B11A4525-3716-4ACD-ACA1-D907D4148208}"/>
          </ac:spMkLst>
        </pc:spChg>
        <pc:spChg chg="add mod">
          <ac:chgData name="Baciu Lupascu, Raluca" userId="68b8499e-70c7-46a5-a7f5-08d4a146f234" providerId="ADAL" clId="{D306BB26-EB9F-4E01-A290-0111A7EB9CD4}" dt="2022-03-09T14:26:12.602" v="3021"/>
          <ac:spMkLst>
            <pc:docMk/>
            <pc:sldMk cId="3862561832" sldId="369"/>
            <ac:spMk id="18" creationId="{F4A85DD7-4949-49E5-A865-4D09940D5BDF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1:37.562" v="3080"/>
        <pc:sldMkLst>
          <pc:docMk/>
          <pc:sldMk cId="3270435337" sldId="370"/>
        </pc:sldMkLst>
        <pc:spChg chg="del mod ord">
          <ac:chgData name="Baciu Lupascu, Raluca" userId="68b8499e-70c7-46a5-a7f5-08d4a146f234" providerId="ADAL" clId="{D306BB26-EB9F-4E01-A290-0111A7EB9CD4}" dt="2022-03-09T14:31:28.364" v="3078" actId="478"/>
          <ac:spMkLst>
            <pc:docMk/>
            <pc:sldMk cId="3270435337" sldId="370"/>
            <ac:spMk id="2" creationId="{CB49E089-CA92-4788-A246-7A98068678BD}"/>
          </ac:spMkLst>
        </pc:spChg>
        <pc:spChg chg="del mod ord">
          <ac:chgData name="Baciu Lupascu, Raluca" userId="68b8499e-70c7-46a5-a7f5-08d4a146f234" providerId="ADAL" clId="{D306BB26-EB9F-4E01-A290-0111A7EB9CD4}" dt="2022-03-09T14:31:25.518" v="3076" actId="478"/>
          <ac:spMkLst>
            <pc:docMk/>
            <pc:sldMk cId="3270435337" sldId="370"/>
            <ac:spMk id="3" creationId="{C6CC2F87-A0E3-4823-85C6-370B7EFC70D9}"/>
          </ac:spMkLst>
        </pc:spChg>
        <pc:spChg chg="del mod ord">
          <ac:chgData name="Baciu Lupascu, Raluca" userId="68b8499e-70c7-46a5-a7f5-08d4a146f234" providerId="ADAL" clId="{D306BB26-EB9F-4E01-A290-0111A7EB9CD4}" dt="2022-03-09T13:35:48.841" v="498"/>
          <ac:spMkLst>
            <pc:docMk/>
            <pc:sldMk cId="3270435337" sldId="370"/>
            <ac:spMk id="4" creationId="{FFA7C27B-74B8-4438-89DD-0A65C776F6C0}"/>
          </ac:spMkLst>
        </pc:spChg>
        <pc:spChg chg="del mod ord">
          <ac:chgData name="Baciu Lupascu, Raluca" userId="68b8499e-70c7-46a5-a7f5-08d4a146f234" providerId="ADAL" clId="{D306BB26-EB9F-4E01-A290-0111A7EB9CD4}" dt="2022-03-09T13:35:48.841" v="500"/>
          <ac:spMkLst>
            <pc:docMk/>
            <pc:sldMk cId="3270435337" sldId="370"/>
            <ac:spMk id="5" creationId="{C75B225C-2937-4A7C-9887-F7CA8143A983}"/>
          </ac:spMkLst>
        </pc:spChg>
        <pc:spChg chg="del mod ord">
          <ac:chgData name="Baciu Lupascu, Raluca" userId="68b8499e-70c7-46a5-a7f5-08d4a146f234" providerId="ADAL" clId="{D306BB26-EB9F-4E01-A290-0111A7EB9CD4}" dt="2022-03-09T13:35:48.841" v="499"/>
          <ac:spMkLst>
            <pc:docMk/>
            <pc:sldMk cId="3270435337" sldId="370"/>
            <ac:spMk id="6" creationId="{A49DCA24-D0E3-40F9-A04D-E7BADCE73392}"/>
          </ac:spMkLst>
        </pc:spChg>
        <pc:spChg chg="add del mod">
          <ac:chgData name="Baciu Lupascu, Raluca" userId="68b8499e-70c7-46a5-a7f5-08d4a146f234" providerId="ADAL" clId="{D306BB26-EB9F-4E01-A290-0111A7EB9CD4}" dt="2022-03-09T13:35:47.917" v="37" actId="6264"/>
          <ac:spMkLst>
            <pc:docMk/>
            <pc:sldMk cId="3270435337" sldId="370"/>
            <ac:spMk id="7" creationId="{B93D0416-46D7-4799-859D-F9FB6F4ECEB8}"/>
          </ac:spMkLst>
        </pc:spChg>
        <pc:spChg chg="add del mod">
          <ac:chgData name="Baciu Lupascu, Raluca" userId="68b8499e-70c7-46a5-a7f5-08d4a146f234" providerId="ADAL" clId="{D306BB26-EB9F-4E01-A290-0111A7EB9CD4}" dt="2022-03-09T13:35:47.917" v="37" actId="6264"/>
          <ac:spMkLst>
            <pc:docMk/>
            <pc:sldMk cId="3270435337" sldId="370"/>
            <ac:spMk id="8" creationId="{B1FB274E-11A9-43B7-8123-87268429A97F}"/>
          </ac:spMkLst>
        </pc:spChg>
        <pc:spChg chg="add del mod">
          <ac:chgData name="Baciu Lupascu, Raluca" userId="68b8499e-70c7-46a5-a7f5-08d4a146f234" providerId="ADAL" clId="{D306BB26-EB9F-4E01-A290-0111A7EB9CD4}" dt="2022-03-09T13:35:47.917" v="37" actId="6264"/>
          <ac:spMkLst>
            <pc:docMk/>
            <pc:sldMk cId="3270435337" sldId="370"/>
            <ac:spMk id="9" creationId="{588AC8B8-0A37-4A6E-B887-2DE0B620BA47}"/>
          </ac:spMkLst>
        </pc:spChg>
        <pc:spChg chg="add del mod">
          <ac:chgData name="Baciu Lupascu, Raluca" userId="68b8499e-70c7-46a5-a7f5-08d4a146f234" providerId="ADAL" clId="{D306BB26-EB9F-4E01-A290-0111A7EB9CD4}" dt="2022-03-09T13:35:47.917" v="37" actId="6264"/>
          <ac:spMkLst>
            <pc:docMk/>
            <pc:sldMk cId="3270435337" sldId="370"/>
            <ac:spMk id="10" creationId="{078BA4FA-2858-45EA-9574-0A82C55BD55A}"/>
          </ac:spMkLst>
        </pc:spChg>
        <pc:spChg chg="add del mod">
          <ac:chgData name="Baciu Lupascu, Raluca" userId="68b8499e-70c7-46a5-a7f5-08d4a146f234" providerId="ADAL" clId="{D306BB26-EB9F-4E01-A290-0111A7EB9CD4}" dt="2022-03-09T13:35:47.917" v="37" actId="6264"/>
          <ac:spMkLst>
            <pc:docMk/>
            <pc:sldMk cId="3270435337" sldId="370"/>
            <ac:spMk id="11" creationId="{528EF37A-9C97-44B5-8993-5A4990829E75}"/>
          </ac:spMkLst>
        </pc:spChg>
        <pc:spChg chg="add del mod">
          <ac:chgData name="Baciu Lupascu, Raluca" userId="68b8499e-70c7-46a5-a7f5-08d4a146f234" providerId="ADAL" clId="{D306BB26-EB9F-4E01-A290-0111A7EB9CD4}" dt="2022-03-09T13:35:56.398" v="2037"/>
          <ac:spMkLst>
            <pc:docMk/>
            <pc:sldMk cId="3270435337" sldId="370"/>
            <ac:spMk id="12" creationId="{1BA6EA62-5724-4F6C-B6F0-2B5A8FED897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0435337" sldId="370"/>
            <ac:spMk id="13" creationId="{1556BE2A-F6B1-4865-BAD1-E4DA3EFFF0E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0435337" sldId="370"/>
            <ac:spMk id="14" creationId="{890FEE75-9C09-4EF4-8DB1-540C68580EC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0435337" sldId="370"/>
            <ac:spMk id="15" creationId="{AD0F3AF7-0F1B-4B42-99B7-8AFC19031BB7}"/>
          </ac:spMkLst>
        </pc:spChg>
        <pc:spChg chg="add del mod">
          <ac:chgData name="Baciu Lupascu, Raluca" userId="68b8499e-70c7-46a5-a7f5-08d4a146f234" providerId="ADAL" clId="{D306BB26-EB9F-4E01-A290-0111A7EB9CD4}" dt="2022-03-09T14:31:27.098" v="3077" actId="478"/>
          <ac:spMkLst>
            <pc:docMk/>
            <pc:sldMk cId="3270435337" sldId="370"/>
            <ac:spMk id="17" creationId="{5B799A05-D5AF-4D1F-BB96-3FB156188B52}"/>
          </ac:spMkLst>
        </pc:spChg>
        <pc:spChg chg="add del mod">
          <ac:chgData name="Baciu Lupascu, Raluca" userId="68b8499e-70c7-46a5-a7f5-08d4a146f234" providerId="ADAL" clId="{D306BB26-EB9F-4E01-A290-0111A7EB9CD4}" dt="2022-03-09T14:31:30.137" v="3079" actId="478"/>
          <ac:spMkLst>
            <pc:docMk/>
            <pc:sldMk cId="3270435337" sldId="370"/>
            <ac:spMk id="19" creationId="{A0884D2C-7A22-427C-8172-4B33DEC3AA2A}"/>
          </ac:spMkLst>
        </pc:spChg>
        <pc:spChg chg="add mod">
          <ac:chgData name="Baciu Lupascu, Raluca" userId="68b8499e-70c7-46a5-a7f5-08d4a146f234" providerId="ADAL" clId="{D306BB26-EB9F-4E01-A290-0111A7EB9CD4}" dt="2022-03-09T14:31:37.562" v="3080"/>
          <ac:spMkLst>
            <pc:docMk/>
            <pc:sldMk cId="3270435337" sldId="370"/>
            <ac:spMk id="20" creationId="{41810DDC-FEAE-458B-8C44-9FD12B896210}"/>
          </ac:spMkLst>
        </pc:spChg>
        <pc:spChg chg="add mod">
          <ac:chgData name="Baciu Lupascu, Raluca" userId="68b8499e-70c7-46a5-a7f5-08d4a146f234" providerId="ADAL" clId="{D306BB26-EB9F-4E01-A290-0111A7EB9CD4}" dt="2022-03-09T14:31:37.562" v="3080"/>
          <ac:spMkLst>
            <pc:docMk/>
            <pc:sldMk cId="3270435337" sldId="370"/>
            <ac:spMk id="21" creationId="{83A0C201-0B89-47CE-A573-96C723998129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0:40.827" v="2932" actId="14100"/>
        <pc:sldMkLst>
          <pc:docMk/>
          <pc:sldMk cId="2438584537" sldId="372"/>
        </pc:sldMkLst>
        <pc:spChg chg="mod ord">
          <ac:chgData name="Baciu Lupascu, Raluca" userId="68b8499e-70c7-46a5-a7f5-08d4a146f234" providerId="ADAL" clId="{D306BB26-EB9F-4E01-A290-0111A7EB9CD4}" dt="2022-03-09T14:20:40.827" v="2932" actId="14100"/>
          <ac:spMkLst>
            <pc:docMk/>
            <pc:sldMk cId="2438584537" sldId="372"/>
            <ac:spMk id="2" creationId="{372EF8C9-0A4B-479F-9E4F-01673F7E9FBA}"/>
          </ac:spMkLst>
        </pc:spChg>
        <pc:spChg chg="mod ord">
          <ac:chgData name="Baciu Lupascu, Raluca" userId="68b8499e-70c7-46a5-a7f5-08d4a146f234" providerId="ADAL" clId="{D306BB26-EB9F-4E01-A290-0111A7EB9CD4}" dt="2022-03-09T14:20:21.657" v="2926" actId="14100"/>
          <ac:spMkLst>
            <pc:docMk/>
            <pc:sldMk cId="2438584537" sldId="372"/>
            <ac:spMk id="3" creationId="{69258AA8-99AA-4A21-A06D-0D6A999EB0EB}"/>
          </ac:spMkLst>
        </pc:spChg>
        <pc:spChg chg="del mod ord">
          <ac:chgData name="Baciu Lupascu, Raluca" userId="68b8499e-70c7-46a5-a7f5-08d4a146f234" providerId="ADAL" clId="{D306BB26-EB9F-4E01-A290-0111A7EB9CD4}" dt="2022-03-09T13:35:48.674" v="348"/>
          <ac:spMkLst>
            <pc:docMk/>
            <pc:sldMk cId="2438584537" sldId="372"/>
            <ac:spMk id="4" creationId="{AEADD24D-A948-4BF7-88E7-6F108DED8652}"/>
          </ac:spMkLst>
        </pc:spChg>
        <pc:spChg chg="del mod ord">
          <ac:chgData name="Baciu Lupascu, Raluca" userId="68b8499e-70c7-46a5-a7f5-08d4a146f234" providerId="ADAL" clId="{D306BB26-EB9F-4E01-A290-0111A7EB9CD4}" dt="2022-03-09T13:35:48.674" v="350"/>
          <ac:spMkLst>
            <pc:docMk/>
            <pc:sldMk cId="2438584537" sldId="372"/>
            <ac:spMk id="5" creationId="{95E35AE3-4134-455A-A5E3-0B8701A5C0A5}"/>
          </ac:spMkLst>
        </pc:spChg>
        <pc:spChg chg="del mod ord">
          <ac:chgData name="Baciu Lupascu, Raluca" userId="68b8499e-70c7-46a5-a7f5-08d4a146f234" providerId="ADAL" clId="{D306BB26-EB9F-4E01-A290-0111A7EB9CD4}" dt="2022-03-09T13:35:48.674" v="349"/>
          <ac:spMkLst>
            <pc:docMk/>
            <pc:sldMk cId="2438584537" sldId="372"/>
            <ac:spMk id="6" creationId="{5A6FE638-CAD5-4CC8-AC47-016F17FFFD6F}"/>
          </ac:spMkLst>
        </pc:spChg>
        <pc:spChg chg="add del mod">
          <ac:chgData name="Baciu Lupascu, Raluca" userId="68b8499e-70c7-46a5-a7f5-08d4a146f234" providerId="ADAL" clId="{D306BB26-EB9F-4E01-A290-0111A7EB9CD4}" dt="2022-03-09T13:35:47.677" v="24" actId="6264"/>
          <ac:spMkLst>
            <pc:docMk/>
            <pc:sldMk cId="2438584537" sldId="372"/>
            <ac:spMk id="8" creationId="{12DE7E41-5D73-4396-BFBF-2ED8AABC3AB5}"/>
          </ac:spMkLst>
        </pc:spChg>
        <pc:spChg chg="add del mod">
          <ac:chgData name="Baciu Lupascu, Raluca" userId="68b8499e-70c7-46a5-a7f5-08d4a146f234" providerId="ADAL" clId="{D306BB26-EB9F-4E01-A290-0111A7EB9CD4}" dt="2022-03-09T13:35:47.677" v="24" actId="6264"/>
          <ac:spMkLst>
            <pc:docMk/>
            <pc:sldMk cId="2438584537" sldId="372"/>
            <ac:spMk id="9" creationId="{D6B9104C-4084-4B46-AB45-BBADB4CD875D}"/>
          </ac:spMkLst>
        </pc:spChg>
        <pc:spChg chg="add del mod">
          <ac:chgData name="Baciu Lupascu, Raluca" userId="68b8499e-70c7-46a5-a7f5-08d4a146f234" providerId="ADAL" clId="{D306BB26-EB9F-4E01-A290-0111A7EB9CD4}" dt="2022-03-09T13:35:47.677" v="24" actId="6264"/>
          <ac:spMkLst>
            <pc:docMk/>
            <pc:sldMk cId="2438584537" sldId="372"/>
            <ac:spMk id="10" creationId="{C42BE3CD-4034-475F-B37E-9997865B735E}"/>
          </ac:spMkLst>
        </pc:spChg>
        <pc:spChg chg="add del mod">
          <ac:chgData name="Baciu Lupascu, Raluca" userId="68b8499e-70c7-46a5-a7f5-08d4a146f234" providerId="ADAL" clId="{D306BB26-EB9F-4E01-A290-0111A7EB9CD4}" dt="2022-03-09T13:35:47.677" v="24" actId="6264"/>
          <ac:spMkLst>
            <pc:docMk/>
            <pc:sldMk cId="2438584537" sldId="372"/>
            <ac:spMk id="11" creationId="{B4D4B121-489A-4992-A791-643A04C93B80}"/>
          </ac:spMkLst>
        </pc:spChg>
        <pc:spChg chg="add del mod">
          <ac:chgData name="Baciu Lupascu, Raluca" userId="68b8499e-70c7-46a5-a7f5-08d4a146f234" providerId="ADAL" clId="{D306BB26-EB9F-4E01-A290-0111A7EB9CD4}" dt="2022-03-09T13:35:47.677" v="24" actId="6264"/>
          <ac:spMkLst>
            <pc:docMk/>
            <pc:sldMk cId="2438584537" sldId="372"/>
            <ac:spMk id="12" creationId="{0398AC30-1250-4E10-BB58-9CD427A53DC2}"/>
          </ac:spMkLst>
        </pc:spChg>
        <pc:spChg chg="add del mod">
          <ac:chgData name="Baciu Lupascu, Raluca" userId="68b8499e-70c7-46a5-a7f5-08d4a146f234" providerId="ADAL" clId="{D306BB26-EB9F-4E01-A290-0111A7EB9CD4}" dt="2022-03-09T13:35:56.373" v="1972"/>
          <ac:spMkLst>
            <pc:docMk/>
            <pc:sldMk cId="2438584537" sldId="372"/>
            <ac:spMk id="13" creationId="{194170E8-280D-40D5-B5E5-A05F3203612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438584537" sldId="372"/>
            <ac:spMk id="14" creationId="{160FCDCD-1725-437A-A159-C87E64353C31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438584537" sldId="372"/>
            <ac:spMk id="15" creationId="{90224701-5BE2-47FE-86AC-841BA01D0E3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438584537" sldId="372"/>
            <ac:spMk id="16" creationId="{BF9B593D-8DDE-454E-B6C6-1FD82933DF87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3:32.711" v="2959" actId="113"/>
        <pc:sldMkLst>
          <pc:docMk/>
          <pc:sldMk cId="3045440099" sldId="373"/>
        </pc:sldMkLst>
        <pc:spChg chg="mod ord">
          <ac:chgData name="Baciu Lupascu, Raluca" userId="68b8499e-70c7-46a5-a7f5-08d4a146f234" providerId="ADAL" clId="{D306BB26-EB9F-4E01-A290-0111A7EB9CD4}" dt="2022-03-09T14:23:32.711" v="2959" actId="113"/>
          <ac:spMkLst>
            <pc:docMk/>
            <pc:sldMk cId="3045440099" sldId="373"/>
            <ac:spMk id="2" creationId="{221FF221-1D38-4700-B6C2-F819DBE0D326}"/>
          </ac:spMkLst>
        </pc:spChg>
        <pc:spChg chg="mod ord">
          <ac:chgData name="Baciu Lupascu, Raluca" userId="68b8499e-70c7-46a5-a7f5-08d4a146f234" providerId="ADAL" clId="{D306BB26-EB9F-4E01-A290-0111A7EB9CD4}" dt="2022-03-09T14:21:26.354" v="2937" actId="14100"/>
          <ac:spMkLst>
            <pc:docMk/>
            <pc:sldMk cId="3045440099" sldId="373"/>
            <ac:spMk id="3" creationId="{F66C6CB6-CE85-4371-A427-7375A94F752D}"/>
          </ac:spMkLst>
        </pc:spChg>
        <pc:spChg chg="del mod ord">
          <ac:chgData name="Baciu Lupascu, Raluca" userId="68b8499e-70c7-46a5-a7f5-08d4a146f234" providerId="ADAL" clId="{D306BB26-EB9F-4E01-A290-0111A7EB9CD4}" dt="2022-03-09T13:35:48.688" v="360"/>
          <ac:spMkLst>
            <pc:docMk/>
            <pc:sldMk cId="3045440099" sldId="373"/>
            <ac:spMk id="4" creationId="{1F1C1462-353E-43E0-8B37-4F0772B5EE4D}"/>
          </ac:spMkLst>
        </pc:spChg>
        <pc:spChg chg="del mod ord">
          <ac:chgData name="Baciu Lupascu, Raluca" userId="68b8499e-70c7-46a5-a7f5-08d4a146f234" providerId="ADAL" clId="{D306BB26-EB9F-4E01-A290-0111A7EB9CD4}" dt="2022-03-09T13:35:48.688" v="362"/>
          <ac:spMkLst>
            <pc:docMk/>
            <pc:sldMk cId="3045440099" sldId="373"/>
            <ac:spMk id="5" creationId="{BB5765F5-2D51-49D4-B5C9-E2E1265AC611}"/>
          </ac:spMkLst>
        </pc:spChg>
        <pc:spChg chg="del mod ord">
          <ac:chgData name="Baciu Lupascu, Raluca" userId="68b8499e-70c7-46a5-a7f5-08d4a146f234" providerId="ADAL" clId="{D306BB26-EB9F-4E01-A290-0111A7EB9CD4}" dt="2022-03-09T13:35:48.688" v="361"/>
          <ac:spMkLst>
            <pc:docMk/>
            <pc:sldMk cId="3045440099" sldId="373"/>
            <ac:spMk id="6" creationId="{E9E2E553-FB9B-4528-9239-EF88D1529328}"/>
          </ac:spMkLst>
        </pc:spChg>
        <pc:spChg chg="add del mod">
          <ac:chgData name="Baciu Lupascu, Raluca" userId="68b8499e-70c7-46a5-a7f5-08d4a146f234" providerId="ADAL" clId="{D306BB26-EB9F-4E01-A290-0111A7EB9CD4}" dt="2022-03-09T13:35:47.694" v="25" actId="6264"/>
          <ac:spMkLst>
            <pc:docMk/>
            <pc:sldMk cId="3045440099" sldId="373"/>
            <ac:spMk id="7" creationId="{B306127B-0658-4FBA-A491-DC7FEA1368D9}"/>
          </ac:spMkLst>
        </pc:spChg>
        <pc:spChg chg="add del mod">
          <ac:chgData name="Baciu Lupascu, Raluca" userId="68b8499e-70c7-46a5-a7f5-08d4a146f234" providerId="ADAL" clId="{D306BB26-EB9F-4E01-A290-0111A7EB9CD4}" dt="2022-03-09T13:35:47.694" v="25" actId="6264"/>
          <ac:spMkLst>
            <pc:docMk/>
            <pc:sldMk cId="3045440099" sldId="373"/>
            <ac:spMk id="8" creationId="{D5663527-B0DF-4A43-BDAC-A585C1F6C424}"/>
          </ac:spMkLst>
        </pc:spChg>
        <pc:spChg chg="add del mod">
          <ac:chgData name="Baciu Lupascu, Raluca" userId="68b8499e-70c7-46a5-a7f5-08d4a146f234" providerId="ADAL" clId="{D306BB26-EB9F-4E01-A290-0111A7EB9CD4}" dt="2022-03-09T13:35:47.694" v="25" actId="6264"/>
          <ac:spMkLst>
            <pc:docMk/>
            <pc:sldMk cId="3045440099" sldId="373"/>
            <ac:spMk id="9" creationId="{86025779-BFD7-46D9-ACEC-0B8435806CE5}"/>
          </ac:spMkLst>
        </pc:spChg>
        <pc:spChg chg="add del mod">
          <ac:chgData name="Baciu Lupascu, Raluca" userId="68b8499e-70c7-46a5-a7f5-08d4a146f234" providerId="ADAL" clId="{D306BB26-EB9F-4E01-A290-0111A7EB9CD4}" dt="2022-03-09T13:35:47.694" v="25" actId="6264"/>
          <ac:spMkLst>
            <pc:docMk/>
            <pc:sldMk cId="3045440099" sldId="373"/>
            <ac:spMk id="10" creationId="{422A1988-5B5B-4440-8D52-EB73AF33EF3B}"/>
          </ac:spMkLst>
        </pc:spChg>
        <pc:spChg chg="add del mod">
          <ac:chgData name="Baciu Lupascu, Raluca" userId="68b8499e-70c7-46a5-a7f5-08d4a146f234" providerId="ADAL" clId="{D306BB26-EB9F-4E01-A290-0111A7EB9CD4}" dt="2022-03-09T13:35:47.694" v="25" actId="6264"/>
          <ac:spMkLst>
            <pc:docMk/>
            <pc:sldMk cId="3045440099" sldId="373"/>
            <ac:spMk id="11" creationId="{4F0ED56B-93F0-47CC-8369-ED8E99F38598}"/>
          </ac:spMkLst>
        </pc:spChg>
        <pc:spChg chg="add del mod">
          <ac:chgData name="Baciu Lupascu, Raluca" userId="68b8499e-70c7-46a5-a7f5-08d4a146f234" providerId="ADAL" clId="{D306BB26-EB9F-4E01-A290-0111A7EB9CD4}" dt="2022-03-09T13:35:56.375" v="1977"/>
          <ac:spMkLst>
            <pc:docMk/>
            <pc:sldMk cId="3045440099" sldId="373"/>
            <ac:spMk id="12" creationId="{B85DB1CE-D7FA-4670-B0DC-A28195C362B3}"/>
          </ac:spMkLst>
        </pc:spChg>
        <pc:spChg chg="add mod ord">
          <ac:chgData name="Baciu Lupascu, Raluca" userId="68b8499e-70c7-46a5-a7f5-08d4a146f234" providerId="ADAL" clId="{D306BB26-EB9F-4E01-A290-0111A7EB9CD4}" dt="2022-03-09T14:21:18.778" v="2935" actId="700"/>
          <ac:spMkLst>
            <pc:docMk/>
            <pc:sldMk cId="3045440099" sldId="373"/>
            <ac:spMk id="13" creationId="{D4D97D6C-4AAD-4A50-A85F-E30BB05DA6DB}"/>
          </ac:spMkLst>
        </pc:spChg>
        <pc:spChg chg="add mod ord">
          <ac:chgData name="Baciu Lupascu, Raluca" userId="68b8499e-70c7-46a5-a7f5-08d4a146f234" providerId="ADAL" clId="{D306BB26-EB9F-4E01-A290-0111A7EB9CD4}" dt="2022-03-09T14:21:18.778" v="2935" actId="700"/>
          <ac:spMkLst>
            <pc:docMk/>
            <pc:sldMk cId="3045440099" sldId="373"/>
            <ac:spMk id="14" creationId="{0F884597-C4D6-4337-9FBA-915A60C872EB}"/>
          </ac:spMkLst>
        </pc:spChg>
        <pc:spChg chg="add mod ord">
          <ac:chgData name="Baciu Lupascu, Raluca" userId="68b8499e-70c7-46a5-a7f5-08d4a146f234" providerId="ADAL" clId="{D306BB26-EB9F-4E01-A290-0111A7EB9CD4}" dt="2022-03-09T14:21:18.778" v="2935" actId="700"/>
          <ac:spMkLst>
            <pc:docMk/>
            <pc:sldMk cId="3045440099" sldId="373"/>
            <ac:spMk id="15" creationId="{2E58CAF0-EBEB-411E-98CE-0EA718F25BB7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7:34.665" v="3039" actId="1036"/>
        <pc:sldMkLst>
          <pc:docMk/>
          <pc:sldMk cId="3193396791" sldId="374"/>
        </pc:sldMkLst>
        <pc:spChg chg="mod ord">
          <ac:chgData name="Baciu Lupascu, Raluca" userId="68b8499e-70c7-46a5-a7f5-08d4a146f234" providerId="ADAL" clId="{D306BB26-EB9F-4E01-A290-0111A7EB9CD4}" dt="2022-03-09T14:27:31.096" v="3038" actId="12"/>
          <ac:spMkLst>
            <pc:docMk/>
            <pc:sldMk cId="3193396791" sldId="374"/>
            <ac:spMk id="2" creationId="{7827BD06-0270-4A07-9870-B4E16BE50080}"/>
          </ac:spMkLst>
        </pc:spChg>
        <pc:spChg chg="mod ord">
          <ac:chgData name="Baciu Lupascu, Raluca" userId="68b8499e-70c7-46a5-a7f5-08d4a146f234" providerId="ADAL" clId="{D306BB26-EB9F-4E01-A290-0111A7EB9CD4}" dt="2022-03-09T14:27:20.424" v="3037" actId="14100"/>
          <ac:spMkLst>
            <pc:docMk/>
            <pc:sldMk cId="3193396791" sldId="374"/>
            <ac:spMk id="3" creationId="{F391A4D7-94EA-446A-AAC6-11F8712BC508}"/>
          </ac:spMkLst>
        </pc:spChg>
        <pc:spChg chg="del mod ord">
          <ac:chgData name="Baciu Lupascu, Raluca" userId="68b8499e-70c7-46a5-a7f5-08d4a146f234" providerId="ADAL" clId="{D306BB26-EB9F-4E01-A290-0111A7EB9CD4}" dt="2022-03-09T13:35:48.756" v="419"/>
          <ac:spMkLst>
            <pc:docMk/>
            <pc:sldMk cId="3193396791" sldId="374"/>
            <ac:spMk id="4" creationId="{C0FC94ED-5ADA-4DD2-9FB3-CE8137EB26B1}"/>
          </ac:spMkLst>
        </pc:spChg>
        <pc:spChg chg="del mod ord">
          <ac:chgData name="Baciu Lupascu, Raluca" userId="68b8499e-70c7-46a5-a7f5-08d4a146f234" providerId="ADAL" clId="{D306BB26-EB9F-4E01-A290-0111A7EB9CD4}" dt="2022-03-09T13:35:48.756" v="421"/>
          <ac:spMkLst>
            <pc:docMk/>
            <pc:sldMk cId="3193396791" sldId="374"/>
            <ac:spMk id="5" creationId="{B3ECE4DA-EA8B-46B4-B92D-AE2333466E3C}"/>
          </ac:spMkLst>
        </pc:spChg>
        <pc:spChg chg="del mod ord">
          <ac:chgData name="Baciu Lupascu, Raluca" userId="68b8499e-70c7-46a5-a7f5-08d4a146f234" providerId="ADAL" clId="{D306BB26-EB9F-4E01-A290-0111A7EB9CD4}" dt="2022-03-09T13:35:48.756" v="420"/>
          <ac:spMkLst>
            <pc:docMk/>
            <pc:sldMk cId="3193396791" sldId="374"/>
            <ac:spMk id="6" creationId="{DA01742B-CE95-437C-A15B-9EAB0A536B3F}"/>
          </ac:spMkLst>
        </pc:spChg>
        <pc:spChg chg="mod">
          <ac:chgData name="Baciu Lupascu, Raluca" userId="68b8499e-70c7-46a5-a7f5-08d4a146f234" providerId="ADAL" clId="{D306BB26-EB9F-4E01-A290-0111A7EB9CD4}" dt="2022-03-09T13:35:56.060" v="1582" actId="790"/>
          <ac:spMkLst>
            <pc:docMk/>
            <pc:sldMk cId="3193396791" sldId="374"/>
            <ac:spMk id="9" creationId="{EC2F23CB-4282-42F9-B8FA-14BF6A6D8C12}"/>
          </ac:spMkLst>
        </pc:spChg>
        <pc:spChg chg="mod">
          <ac:chgData name="Baciu Lupascu, Raluca" userId="68b8499e-70c7-46a5-a7f5-08d4a146f234" providerId="ADAL" clId="{D306BB26-EB9F-4E01-A290-0111A7EB9CD4}" dt="2022-03-09T14:27:08.628" v="3034" actId="1076"/>
          <ac:spMkLst>
            <pc:docMk/>
            <pc:sldMk cId="3193396791" sldId="374"/>
            <ac:spMk id="10" creationId="{70E72E43-3058-490E-A564-03A2DDE3759C}"/>
          </ac:spMkLst>
        </pc:spChg>
        <pc:spChg chg="add del mod">
          <ac:chgData name="Baciu Lupascu, Raluca" userId="68b8499e-70c7-46a5-a7f5-08d4a146f234" providerId="ADAL" clId="{D306BB26-EB9F-4E01-A290-0111A7EB9CD4}" dt="2022-03-09T13:35:47.788" v="30" actId="6264"/>
          <ac:spMkLst>
            <pc:docMk/>
            <pc:sldMk cId="3193396791" sldId="374"/>
            <ac:spMk id="11" creationId="{764C3932-17F6-4B35-88FF-0294C99E0468}"/>
          </ac:spMkLst>
        </pc:spChg>
        <pc:spChg chg="add del mod">
          <ac:chgData name="Baciu Lupascu, Raluca" userId="68b8499e-70c7-46a5-a7f5-08d4a146f234" providerId="ADAL" clId="{D306BB26-EB9F-4E01-A290-0111A7EB9CD4}" dt="2022-03-09T13:35:47.788" v="30" actId="6264"/>
          <ac:spMkLst>
            <pc:docMk/>
            <pc:sldMk cId="3193396791" sldId="374"/>
            <ac:spMk id="13" creationId="{61B48E62-6DF4-419A-B9C7-066D3FCC0D38}"/>
          </ac:spMkLst>
        </pc:spChg>
        <pc:spChg chg="add del mod">
          <ac:chgData name="Baciu Lupascu, Raluca" userId="68b8499e-70c7-46a5-a7f5-08d4a146f234" providerId="ADAL" clId="{D306BB26-EB9F-4E01-A290-0111A7EB9CD4}" dt="2022-03-09T13:35:47.788" v="30" actId="6264"/>
          <ac:spMkLst>
            <pc:docMk/>
            <pc:sldMk cId="3193396791" sldId="374"/>
            <ac:spMk id="14" creationId="{C3B17F70-0672-47AE-A12A-A403A2738088}"/>
          </ac:spMkLst>
        </pc:spChg>
        <pc:spChg chg="add del mod">
          <ac:chgData name="Baciu Lupascu, Raluca" userId="68b8499e-70c7-46a5-a7f5-08d4a146f234" providerId="ADAL" clId="{D306BB26-EB9F-4E01-A290-0111A7EB9CD4}" dt="2022-03-09T13:35:47.788" v="30" actId="6264"/>
          <ac:spMkLst>
            <pc:docMk/>
            <pc:sldMk cId="3193396791" sldId="374"/>
            <ac:spMk id="15" creationId="{BF03A8EB-9174-4443-B981-58AFEEC2F5D7}"/>
          </ac:spMkLst>
        </pc:spChg>
        <pc:spChg chg="add del mod">
          <ac:chgData name="Baciu Lupascu, Raluca" userId="68b8499e-70c7-46a5-a7f5-08d4a146f234" providerId="ADAL" clId="{D306BB26-EB9F-4E01-A290-0111A7EB9CD4}" dt="2022-03-09T13:35:47.788" v="30" actId="6264"/>
          <ac:spMkLst>
            <pc:docMk/>
            <pc:sldMk cId="3193396791" sldId="374"/>
            <ac:spMk id="16" creationId="{EECAA426-C69D-4BF9-A0A2-B79E0633DFAB}"/>
          </ac:spMkLst>
        </pc:spChg>
        <pc:spChg chg="add del mod">
          <ac:chgData name="Baciu Lupascu, Raluca" userId="68b8499e-70c7-46a5-a7f5-08d4a146f234" providerId="ADAL" clId="{D306BB26-EB9F-4E01-A290-0111A7EB9CD4}" dt="2022-03-09T13:35:56.384" v="2002"/>
          <ac:spMkLst>
            <pc:docMk/>
            <pc:sldMk cId="3193396791" sldId="374"/>
            <ac:spMk id="17" creationId="{73139C2F-8865-475D-B516-E3725BF98D1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193396791" sldId="374"/>
            <ac:spMk id="18" creationId="{10C525E6-C66E-41FE-9E76-D89E26E9A5C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193396791" sldId="374"/>
            <ac:spMk id="19" creationId="{835A8CA8-D6AE-4CCA-86C7-1F117EF50FB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193396791" sldId="374"/>
            <ac:spMk id="20" creationId="{854DA815-223A-4234-925F-AB3163357C1A}"/>
          </ac:spMkLst>
        </pc:spChg>
        <pc:picChg chg="mod">
          <ac:chgData name="Baciu Lupascu, Raluca" userId="68b8499e-70c7-46a5-a7f5-08d4a146f234" providerId="ADAL" clId="{D306BB26-EB9F-4E01-A290-0111A7EB9CD4}" dt="2022-03-09T14:27:05.592" v="3033" actId="1076"/>
          <ac:picMkLst>
            <pc:docMk/>
            <pc:sldMk cId="3193396791" sldId="374"/>
            <ac:picMk id="7" creationId="{CDBA51E6-877B-4F47-8A67-356A38F560F6}"/>
          </ac:picMkLst>
        </pc:picChg>
        <pc:picChg chg="del">
          <ac:chgData name="Baciu Lupascu, Raluca" userId="68b8499e-70c7-46a5-a7f5-08d4a146f234" providerId="ADAL" clId="{D306BB26-EB9F-4E01-A290-0111A7EB9CD4}" dt="2022-03-09T14:26:34.521" v="3024" actId="478"/>
          <ac:picMkLst>
            <pc:docMk/>
            <pc:sldMk cId="3193396791" sldId="374"/>
            <ac:picMk id="8" creationId="{68767538-B19B-42E4-8924-8E369007EA5B}"/>
          </ac:picMkLst>
        </pc:picChg>
        <pc:picChg chg="mod">
          <ac:chgData name="Baciu Lupascu, Raluca" userId="68b8499e-70c7-46a5-a7f5-08d4a146f234" providerId="ADAL" clId="{D306BB26-EB9F-4E01-A290-0111A7EB9CD4}" dt="2022-03-09T14:27:34.665" v="3039" actId="1036"/>
          <ac:picMkLst>
            <pc:docMk/>
            <pc:sldMk cId="3193396791" sldId="374"/>
            <ac:picMk id="12" creationId="{787FFC8D-A157-409B-8EC3-7CE72B9EF44D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9:23.385" v="3063" actId="14100"/>
        <pc:sldMkLst>
          <pc:docMk/>
          <pc:sldMk cId="1215437296" sldId="375"/>
        </pc:sldMkLst>
        <pc:spChg chg="del mod ord">
          <ac:chgData name="Baciu Lupascu, Raluca" userId="68b8499e-70c7-46a5-a7f5-08d4a146f234" providerId="ADAL" clId="{D306BB26-EB9F-4E01-A290-0111A7EB9CD4}" dt="2022-03-09T14:28:39.095" v="3050" actId="478"/>
          <ac:spMkLst>
            <pc:docMk/>
            <pc:sldMk cId="1215437296" sldId="375"/>
            <ac:spMk id="2" creationId="{77D20075-6315-42FA-A6ED-26D5DA7EA265}"/>
          </ac:spMkLst>
        </pc:spChg>
        <pc:spChg chg="add del mod">
          <ac:chgData name="Baciu Lupascu, Raluca" userId="68b8499e-70c7-46a5-a7f5-08d4a146f234" providerId="ADAL" clId="{D306BB26-EB9F-4E01-A290-0111A7EB9CD4}" dt="2022-03-09T13:35:47.839" v="33" actId="6264"/>
          <ac:spMkLst>
            <pc:docMk/>
            <pc:sldMk cId="1215437296" sldId="375"/>
            <ac:spMk id="3" creationId="{3E5CE3EB-47BD-4FD5-8047-3186BE571A87}"/>
          </ac:spMkLst>
        </pc:spChg>
        <pc:spChg chg="del mod ord">
          <ac:chgData name="Baciu Lupascu, Raluca" userId="68b8499e-70c7-46a5-a7f5-08d4a146f234" providerId="ADAL" clId="{D306BB26-EB9F-4E01-A290-0111A7EB9CD4}" dt="2022-03-09T13:35:48.794" v="454"/>
          <ac:spMkLst>
            <pc:docMk/>
            <pc:sldMk cId="1215437296" sldId="375"/>
            <ac:spMk id="4" creationId="{6ECFA7B5-5DDE-400F-85CB-65021E83C9CA}"/>
          </ac:spMkLst>
        </pc:spChg>
        <pc:spChg chg="del mod ord">
          <ac:chgData name="Baciu Lupascu, Raluca" userId="68b8499e-70c7-46a5-a7f5-08d4a146f234" providerId="ADAL" clId="{D306BB26-EB9F-4E01-A290-0111A7EB9CD4}" dt="2022-03-09T13:35:48.794" v="456"/>
          <ac:spMkLst>
            <pc:docMk/>
            <pc:sldMk cId="1215437296" sldId="375"/>
            <ac:spMk id="5" creationId="{11BF3E14-00D4-4DA6-A99E-F6FAF7EB6728}"/>
          </ac:spMkLst>
        </pc:spChg>
        <pc:spChg chg="del mod ord">
          <ac:chgData name="Baciu Lupascu, Raluca" userId="68b8499e-70c7-46a5-a7f5-08d4a146f234" providerId="ADAL" clId="{D306BB26-EB9F-4E01-A290-0111A7EB9CD4}" dt="2022-03-09T13:35:48.794" v="455"/>
          <ac:spMkLst>
            <pc:docMk/>
            <pc:sldMk cId="1215437296" sldId="375"/>
            <ac:spMk id="6" creationId="{D3A5542D-8295-4A10-A499-989FA808CB80}"/>
          </ac:spMkLst>
        </pc:spChg>
        <pc:spChg chg="mod">
          <ac:chgData name="Baciu Lupascu, Raluca" userId="68b8499e-70c7-46a5-a7f5-08d4a146f234" providerId="ADAL" clId="{D306BB26-EB9F-4E01-A290-0111A7EB9CD4}" dt="2022-03-09T14:29:17.973" v="3062" actId="1038"/>
          <ac:spMkLst>
            <pc:docMk/>
            <pc:sldMk cId="1215437296" sldId="375"/>
            <ac:spMk id="8" creationId="{7C1A2A89-11EB-4830-9950-88638D711817}"/>
          </ac:spMkLst>
        </pc:spChg>
        <pc:spChg chg="add del mod">
          <ac:chgData name="Baciu Lupascu, Raluca" userId="68b8499e-70c7-46a5-a7f5-08d4a146f234" providerId="ADAL" clId="{D306BB26-EB9F-4E01-A290-0111A7EB9CD4}" dt="2022-03-09T13:35:47.839" v="33" actId="6264"/>
          <ac:spMkLst>
            <pc:docMk/>
            <pc:sldMk cId="1215437296" sldId="375"/>
            <ac:spMk id="9" creationId="{081C0CB3-17E6-4051-96DE-F604120CC5A0}"/>
          </ac:spMkLst>
        </pc:spChg>
        <pc:spChg chg="add del mod">
          <ac:chgData name="Baciu Lupascu, Raluca" userId="68b8499e-70c7-46a5-a7f5-08d4a146f234" providerId="ADAL" clId="{D306BB26-EB9F-4E01-A290-0111A7EB9CD4}" dt="2022-03-09T13:35:47.839" v="33" actId="6264"/>
          <ac:spMkLst>
            <pc:docMk/>
            <pc:sldMk cId="1215437296" sldId="375"/>
            <ac:spMk id="10" creationId="{129A7B47-4D48-4BA1-9995-495A6A7504CF}"/>
          </ac:spMkLst>
        </pc:spChg>
        <pc:spChg chg="add del mod">
          <ac:chgData name="Baciu Lupascu, Raluca" userId="68b8499e-70c7-46a5-a7f5-08d4a146f234" providerId="ADAL" clId="{D306BB26-EB9F-4E01-A290-0111A7EB9CD4}" dt="2022-03-09T13:35:47.839" v="33" actId="6264"/>
          <ac:spMkLst>
            <pc:docMk/>
            <pc:sldMk cId="1215437296" sldId="375"/>
            <ac:spMk id="11" creationId="{4F180B05-91B7-4DDC-8F00-18FE3985EED0}"/>
          </ac:spMkLst>
        </pc:spChg>
        <pc:spChg chg="add del mod ord">
          <ac:chgData name="Baciu Lupascu, Raluca" userId="68b8499e-70c7-46a5-a7f5-08d4a146f234" providerId="ADAL" clId="{D306BB26-EB9F-4E01-A290-0111A7EB9CD4}" dt="2022-03-09T13:35:48.805" v="461"/>
          <ac:spMkLst>
            <pc:docMk/>
            <pc:sldMk cId="1215437296" sldId="375"/>
            <ac:spMk id="12" creationId="{7666A7F2-B0BA-4910-9C34-4D3F9C15D02C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215437296" sldId="375"/>
            <ac:spMk id="13" creationId="{52A6C5F0-81EE-4F82-A577-8A0B830D180B}"/>
          </ac:spMkLst>
        </pc:spChg>
        <pc:spChg chg="add del mod">
          <ac:chgData name="Baciu Lupascu, Raluca" userId="68b8499e-70c7-46a5-a7f5-08d4a146f234" providerId="ADAL" clId="{D306BB26-EB9F-4E01-A290-0111A7EB9CD4}" dt="2022-03-09T13:35:56.390" v="2017"/>
          <ac:spMkLst>
            <pc:docMk/>
            <pc:sldMk cId="1215437296" sldId="375"/>
            <ac:spMk id="14" creationId="{7C2086E4-D8E3-48FE-B366-87ED3125DFE7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215437296" sldId="375"/>
            <ac:spMk id="15" creationId="{2C8F890B-224D-4D35-987D-C67C1937D89D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215437296" sldId="375"/>
            <ac:spMk id="16" creationId="{B94F924C-557E-4336-87A4-A29FFA566D9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215437296" sldId="375"/>
            <ac:spMk id="17" creationId="{AC3EE15F-5D95-4299-A6FD-96D15D615388}"/>
          </ac:spMkLst>
        </pc:spChg>
        <pc:spChg chg="add del mod ord">
          <ac:chgData name="Baciu Lupascu, Raluca" userId="68b8499e-70c7-46a5-a7f5-08d4a146f234" providerId="ADAL" clId="{D306BB26-EB9F-4E01-A290-0111A7EB9CD4}" dt="2022-03-09T14:28:35.722" v="3049" actId="478"/>
          <ac:spMkLst>
            <pc:docMk/>
            <pc:sldMk cId="1215437296" sldId="375"/>
            <ac:spMk id="18" creationId="{9D18DF54-6D96-428C-9CB6-FA96BDCE5FAD}"/>
          </ac:spMkLst>
        </pc:spChg>
        <pc:spChg chg="add del mod">
          <ac:chgData name="Baciu Lupascu, Raluca" userId="68b8499e-70c7-46a5-a7f5-08d4a146f234" providerId="ADAL" clId="{D306BB26-EB9F-4E01-A290-0111A7EB9CD4}" dt="2022-03-09T14:28:42.418" v="3051" actId="478"/>
          <ac:spMkLst>
            <pc:docMk/>
            <pc:sldMk cId="1215437296" sldId="375"/>
            <ac:spMk id="20" creationId="{B57D6BB1-C202-4DCF-BE4E-7202D220ADA7}"/>
          </ac:spMkLst>
        </pc:spChg>
        <pc:spChg chg="add mod">
          <ac:chgData name="Baciu Lupascu, Raluca" userId="68b8499e-70c7-46a5-a7f5-08d4a146f234" providerId="ADAL" clId="{D306BB26-EB9F-4E01-A290-0111A7EB9CD4}" dt="2022-03-09T14:29:11.374" v="3055"/>
          <ac:spMkLst>
            <pc:docMk/>
            <pc:sldMk cId="1215437296" sldId="375"/>
            <ac:spMk id="21" creationId="{9300D663-B838-4B70-B56B-B992C8ABDF35}"/>
          </ac:spMkLst>
        </pc:spChg>
        <pc:picChg chg="mod">
          <ac:chgData name="Baciu Lupascu, Raluca" userId="68b8499e-70c7-46a5-a7f5-08d4a146f234" providerId="ADAL" clId="{D306BB26-EB9F-4E01-A290-0111A7EB9CD4}" dt="2022-03-09T14:29:23.385" v="3063" actId="14100"/>
          <ac:picMkLst>
            <pc:docMk/>
            <pc:sldMk cId="1215437296" sldId="375"/>
            <ac:picMk id="7" creationId="{7831D4A4-1B7E-416F-99F8-53B8E6CE6F3C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4:50.361" v="3007" actId="404"/>
        <pc:sldMkLst>
          <pc:docMk/>
          <pc:sldMk cId="2186817453" sldId="376"/>
        </pc:sldMkLst>
        <pc:spChg chg="mod ord">
          <ac:chgData name="Baciu Lupascu, Raluca" userId="68b8499e-70c7-46a5-a7f5-08d4a146f234" providerId="ADAL" clId="{D306BB26-EB9F-4E01-A290-0111A7EB9CD4}" dt="2022-03-09T14:24:50.361" v="3007" actId="404"/>
          <ac:spMkLst>
            <pc:docMk/>
            <pc:sldMk cId="2186817453" sldId="376"/>
            <ac:spMk id="2" creationId="{BA0EF5D8-C9A4-425D-B0E6-B8EB1DA8281D}"/>
          </ac:spMkLst>
        </pc:spChg>
        <pc:spChg chg="mod ord">
          <ac:chgData name="Baciu Lupascu, Raluca" userId="68b8499e-70c7-46a5-a7f5-08d4a146f234" providerId="ADAL" clId="{D306BB26-EB9F-4E01-A290-0111A7EB9CD4}" dt="2022-03-09T14:21:51.698" v="2942" actId="14100"/>
          <ac:spMkLst>
            <pc:docMk/>
            <pc:sldMk cId="2186817453" sldId="376"/>
            <ac:spMk id="3" creationId="{38DF8933-7985-446A-B73E-1BAE29CE7AEB}"/>
          </ac:spMkLst>
        </pc:spChg>
        <pc:spChg chg="del mod ord">
          <ac:chgData name="Baciu Lupascu, Raluca" userId="68b8499e-70c7-46a5-a7f5-08d4a146f234" providerId="ADAL" clId="{D306BB26-EB9F-4E01-A290-0111A7EB9CD4}" dt="2022-03-09T13:35:48.701" v="372"/>
          <ac:spMkLst>
            <pc:docMk/>
            <pc:sldMk cId="2186817453" sldId="376"/>
            <ac:spMk id="4" creationId="{631516D1-0D3C-4F63-9DF2-85D666B5003F}"/>
          </ac:spMkLst>
        </pc:spChg>
        <pc:spChg chg="del mod ord">
          <ac:chgData name="Baciu Lupascu, Raluca" userId="68b8499e-70c7-46a5-a7f5-08d4a146f234" providerId="ADAL" clId="{D306BB26-EB9F-4E01-A290-0111A7EB9CD4}" dt="2022-03-09T13:35:48.702" v="374"/>
          <ac:spMkLst>
            <pc:docMk/>
            <pc:sldMk cId="2186817453" sldId="376"/>
            <ac:spMk id="5" creationId="{405A6FCF-97C3-49E5-9406-A5BD48E6FDC8}"/>
          </ac:spMkLst>
        </pc:spChg>
        <pc:spChg chg="del mod ord">
          <ac:chgData name="Baciu Lupascu, Raluca" userId="68b8499e-70c7-46a5-a7f5-08d4a146f234" providerId="ADAL" clId="{D306BB26-EB9F-4E01-A290-0111A7EB9CD4}" dt="2022-03-09T13:35:48.702" v="373"/>
          <ac:spMkLst>
            <pc:docMk/>
            <pc:sldMk cId="2186817453" sldId="376"/>
            <ac:spMk id="6" creationId="{A4328615-9DCD-4845-8828-A45258A3127C}"/>
          </ac:spMkLst>
        </pc:spChg>
        <pc:spChg chg="add del mod">
          <ac:chgData name="Baciu Lupascu, Raluca" userId="68b8499e-70c7-46a5-a7f5-08d4a146f234" providerId="ADAL" clId="{D306BB26-EB9F-4E01-A290-0111A7EB9CD4}" dt="2022-03-09T13:35:47.713" v="26" actId="6264"/>
          <ac:spMkLst>
            <pc:docMk/>
            <pc:sldMk cId="2186817453" sldId="376"/>
            <ac:spMk id="8" creationId="{4E4EA372-00B3-4666-865B-3E9779B7A798}"/>
          </ac:spMkLst>
        </pc:spChg>
        <pc:spChg chg="add del mod">
          <ac:chgData name="Baciu Lupascu, Raluca" userId="68b8499e-70c7-46a5-a7f5-08d4a146f234" providerId="ADAL" clId="{D306BB26-EB9F-4E01-A290-0111A7EB9CD4}" dt="2022-03-09T13:35:47.713" v="26" actId="6264"/>
          <ac:spMkLst>
            <pc:docMk/>
            <pc:sldMk cId="2186817453" sldId="376"/>
            <ac:spMk id="9" creationId="{7C63245D-4790-4E57-906E-49A9F929643E}"/>
          </ac:spMkLst>
        </pc:spChg>
        <pc:spChg chg="add del mod">
          <ac:chgData name="Baciu Lupascu, Raluca" userId="68b8499e-70c7-46a5-a7f5-08d4a146f234" providerId="ADAL" clId="{D306BB26-EB9F-4E01-A290-0111A7EB9CD4}" dt="2022-03-09T13:35:47.713" v="26" actId="6264"/>
          <ac:spMkLst>
            <pc:docMk/>
            <pc:sldMk cId="2186817453" sldId="376"/>
            <ac:spMk id="10" creationId="{87F4C028-7F97-4603-8180-A8D9CEC986A8}"/>
          </ac:spMkLst>
        </pc:spChg>
        <pc:spChg chg="add del mod">
          <ac:chgData name="Baciu Lupascu, Raluca" userId="68b8499e-70c7-46a5-a7f5-08d4a146f234" providerId="ADAL" clId="{D306BB26-EB9F-4E01-A290-0111A7EB9CD4}" dt="2022-03-09T13:35:47.713" v="26" actId="6264"/>
          <ac:spMkLst>
            <pc:docMk/>
            <pc:sldMk cId="2186817453" sldId="376"/>
            <ac:spMk id="11" creationId="{0F0CAB8D-CE0B-4257-B248-86581474F2EF}"/>
          </ac:spMkLst>
        </pc:spChg>
        <pc:spChg chg="add del mod">
          <ac:chgData name="Baciu Lupascu, Raluca" userId="68b8499e-70c7-46a5-a7f5-08d4a146f234" providerId="ADAL" clId="{D306BB26-EB9F-4E01-A290-0111A7EB9CD4}" dt="2022-03-09T13:35:47.713" v="26" actId="6264"/>
          <ac:spMkLst>
            <pc:docMk/>
            <pc:sldMk cId="2186817453" sldId="376"/>
            <ac:spMk id="12" creationId="{79F25B0E-D3CB-4BB5-89EC-6BB1D38218A7}"/>
          </ac:spMkLst>
        </pc:spChg>
        <pc:spChg chg="add del mod">
          <ac:chgData name="Baciu Lupascu, Raluca" userId="68b8499e-70c7-46a5-a7f5-08d4a146f234" providerId="ADAL" clId="{D306BB26-EB9F-4E01-A290-0111A7EB9CD4}" dt="2022-03-09T13:35:56.376" v="1982"/>
          <ac:spMkLst>
            <pc:docMk/>
            <pc:sldMk cId="2186817453" sldId="376"/>
            <ac:spMk id="13" creationId="{121FFB39-C4E2-4354-9A84-225055BE677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186817453" sldId="376"/>
            <ac:spMk id="14" creationId="{0DDEE8EE-534C-41A5-91AD-597D724D118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186817453" sldId="376"/>
            <ac:spMk id="15" creationId="{FA06CB43-73C6-4D0F-A012-B60BA8FAA76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186817453" sldId="376"/>
            <ac:spMk id="16" creationId="{F8AED67C-4E3E-4507-BFA9-0E80D83AE329}"/>
          </ac:spMkLst>
        </pc:spChg>
        <pc:picChg chg="mod">
          <ac:chgData name="Baciu Lupascu, Raluca" userId="68b8499e-70c7-46a5-a7f5-08d4a146f234" providerId="ADAL" clId="{D306BB26-EB9F-4E01-A290-0111A7EB9CD4}" dt="2022-03-09T14:23:07.446" v="2955" actId="1036"/>
          <ac:picMkLst>
            <pc:docMk/>
            <pc:sldMk cId="2186817453" sldId="376"/>
            <ac:picMk id="7" creationId="{7EA684CE-DDB2-4D1A-90C9-89AC236D55B2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9:46.341" v="3068" actId="14100"/>
        <pc:sldMkLst>
          <pc:docMk/>
          <pc:sldMk cId="2344202603" sldId="377"/>
        </pc:sldMkLst>
        <pc:spChg chg="del mod ord">
          <ac:chgData name="Baciu Lupascu, Raluca" userId="68b8499e-70c7-46a5-a7f5-08d4a146f234" providerId="ADAL" clId="{D306BB26-EB9F-4E01-A290-0111A7EB9CD4}" dt="2022-03-09T14:29:32.454" v="3065" actId="478"/>
          <ac:spMkLst>
            <pc:docMk/>
            <pc:sldMk cId="2344202603" sldId="377"/>
            <ac:spMk id="2" creationId="{AF3D5792-6A0F-455A-A6E4-84FF28CB6812}"/>
          </ac:spMkLst>
        </pc:spChg>
        <pc:spChg chg="add del mod">
          <ac:chgData name="Baciu Lupascu, Raluca" userId="68b8499e-70c7-46a5-a7f5-08d4a146f234" providerId="ADAL" clId="{D306BB26-EB9F-4E01-A290-0111A7EB9CD4}" dt="2022-03-09T13:35:47.859" v="34" actId="6264"/>
          <ac:spMkLst>
            <pc:docMk/>
            <pc:sldMk cId="2344202603" sldId="377"/>
            <ac:spMk id="3" creationId="{EAC5AB0E-FA7C-474C-B18B-2C379FE71347}"/>
          </ac:spMkLst>
        </pc:spChg>
        <pc:spChg chg="del mod ord">
          <ac:chgData name="Baciu Lupascu, Raluca" userId="68b8499e-70c7-46a5-a7f5-08d4a146f234" providerId="ADAL" clId="{D306BB26-EB9F-4E01-A290-0111A7EB9CD4}" dt="2022-03-09T13:35:48.806" v="465"/>
          <ac:spMkLst>
            <pc:docMk/>
            <pc:sldMk cId="2344202603" sldId="377"/>
            <ac:spMk id="4" creationId="{865377E1-2771-4DCA-A431-82C71D6E3B45}"/>
          </ac:spMkLst>
        </pc:spChg>
        <pc:spChg chg="del mod ord">
          <ac:chgData name="Baciu Lupascu, Raluca" userId="68b8499e-70c7-46a5-a7f5-08d4a146f234" providerId="ADAL" clId="{D306BB26-EB9F-4E01-A290-0111A7EB9CD4}" dt="2022-03-09T13:35:48.806" v="467"/>
          <ac:spMkLst>
            <pc:docMk/>
            <pc:sldMk cId="2344202603" sldId="377"/>
            <ac:spMk id="5" creationId="{2034AE62-7F9A-4F6C-8582-DCD278D4D87E}"/>
          </ac:spMkLst>
        </pc:spChg>
        <pc:spChg chg="del mod ord">
          <ac:chgData name="Baciu Lupascu, Raluca" userId="68b8499e-70c7-46a5-a7f5-08d4a146f234" providerId="ADAL" clId="{D306BB26-EB9F-4E01-A290-0111A7EB9CD4}" dt="2022-03-09T13:35:48.806" v="466"/>
          <ac:spMkLst>
            <pc:docMk/>
            <pc:sldMk cId="2344202603" sldId="377"/>
            <ac:spMk id="6" creationId="{5AC0C10B-45CA-4AB4-BA69-6E6D628D4833}"/>
          </ac:spMkLst>
        </pc:spChg>
        <pc:spChg chg="add del mod">
          <ac:chgData name="Baciu Lupascu, Raluca" userId="68b8499e-70c7-46a5-a7f5-08d4a146f234" providerId="ADAL" clId="{D306BB26-EB9F-4E01-A290-0111A7EB9CD4}" dt="2022-03-09T13:35:47.859" v="34" actId="6264"/>
          <ac:spMkLst>
            <pc:docMk/>
            <pc:sldMk cId="2344202603" sldId="377"/>
            <ac:spMk id="7" creationId="{09E74EF3-A5CE-45C7-BD02-BFFE51972A78}"/>
          </ac:spMkLst>
        </pc:spChg>
        <pc:spChg chg="add del mod">
          <ac:chgData name="Baciu Lupascu, Raluca" userId="68b8499e-70c7-46a5-a7f5-08d4a146f234" providerId="ADAL" clId="{D306BB26-EB9F-4E01-A290-0111A7EB9CD4}" dt="2022-03-09T13:35:47.859" v="34" actId="6264"/>
          <ac:spMkLst>
            <pc:docMk/>
            <pc:sldMk cId="2344202603" sldId="377"/>
            <ac:spMk id="8" creationId="{E6710571-28F6-436C-8C4A-E05B9291E123}"/>
          </ac:spMkLst>
        </pc:spChg>
        <pc:spChg chg="add del mod">
          <ac:chgData name="Baciu Lupascu, Raluca" userId="68b8499e-70c7-46a5-a7f5-08d4a146f234" providerId="ADAL" clId="{D306BB26-EB9F-4E01-A290-0111A7EB9CD4}" dt="2022-03-09T13:35:47.859" v="34" actId="6264"/>
          <ac:spMkLst>
            <pc:docMk/>
            <pc:sldMk cId="2344202603" sldId="377"/>
            <ac:spMk id="9" creationId="{E5289425-E128-4DF6-BE3A-B827CA5D2299}"/>
          </ac:spMkLst>
        </pc:spChg>
        <pc:spChg chg="mod">
          <ac:chgData name="Baciu Lupascu, Raluca" userId="68b8499e-70c7-46a5-a7f5-08d4a146f234" providerId="ADAL" clId="{D306BB26-EB9F-4E01-A290-0111A7EB9CD4}" dt="2022-03-09T13:35:56.085" v="1628" actId="790"/>
          <ac:spMkLst>
            <pc:docMk/>
            <pc:sldMk cId="2344202603" sldId="377"/>
            <ac:spMk id="10" creationId="{DD6A7356-8D59-43DC-9FE6-0D5684B6753C}"/>
          </ac:spMkLst>
        </pc:spChg>
        <pc:spChg chg="add del mod ord">
          <ac:chgData name="Baciu Lupascu, Raluca" userId="68b8499e-70c7-46a5-a7f5-08d4a146f234" providerId="ADAL" clId="{D306BB26-EB9F-4E01-A290-0111A7EB9CD4}" dt="2022-03-09T13:35:48.816" v="472"/>
          <ac:spMkLst>
            <pc:docMk/>
            <pc:sldMk cId="2344202603" sldId="377"/>
            <ac:spMk id="11" creationId="{C2B0B037-F1F2-4936-9131-DC9667F2F378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44202603" sldId="377"/>
            <ac:spMk id="12" creationId="{34222BC8-0241-433C-A50D-EFD8F0F1A31D}"/>
          </ac:spMkLst>
        </pc:spChg>
        <pc:spChg chg="add del mod">
          <ac:chgData name="Baciu Lupascu, Raluca" userId="68b8499e-70c7-46a5-a7f5-08d4a146f234" providerId="ADAL" clId="{D306BB26-EB9F-4E01-A290-0111A7EB9CD4}" dt="2022-03-09T13:35:56.392" v="2022"/>
          <ac:spMkLst>
            <pc:docMk/>
            <pc:sldMk cId="2344202603" sldId="377"/>
            <ac:spMk id="13" creationId="{90359EAE-0F15-4725-9101-A73F5E48188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44202603" sldId="377"/>
            <ac:spMk id="14" creationId="{005D7B76-892C-4A78-B94E-ABD05C9282E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44202603" sldId="377"/>
            <ac:spMk id="16" creationId="{67007CC3-3C56-4E0A-9448-5925416B81DD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44202603" sldId="377"/>
            <ac:spMk id="18" creationId="{D883C063-5C98-4AC6-AD09-4423808A7127}"/>
          </ac:spMkLst>
        </pc:spChg>
        <pc:spChg chg="add del mod ord">
          <ac:chgData name="Baciu Lupascu, Raluca" userId="68b8499e-70c7-46a5-a7f5-08d4a146f234" providerId="ADAL" clId="{D306BB26-EB9F-4E01-A290-0111A7EB9CD4}" dt="2022-03-09T14:29:28.663" v="3064" actId="478"/>
          <ac:spMkLst>
            <pc:docMk/>
            <pc:sldMk cId="2344202603" sldId="377"/>
            <ac:spMk id="20" creationId="{8113ED99-429E-45B4-ACB0-1035FBADBCBF}"/>
          </ac:spMkLst>
        </pc:spChg>
        <pc:spChg chg="add del mod">
          <ac:chgData name="Baciu Lupascu, Raluca" userId="68b8499e-70c7-46a5-a7f5-08d4a146f234" providerId="ADAL" clId="{D306BB26-EB9F-4E01-A290-0111A7EB9CD4}" dt="2022-03-09T14:29:34.575" v="3066" actId="478"/>
          <ac:spMkLst>
            <pc:docMk/>
            <pc:sldMk cId="2344202603" sldId="377"/>
            <ac:spMk id="22" creationId="{C61AE1A1-EE12-4373-B70B-50F979AAF708}"/>
          </ac:spMkLst>
        </pc:spChg>
        <pc:spChg chg="add mod">
          <ac:chgData name="Baciu Lupascu, Raluca" userId="68b8499e-70c7-46a5-a7f5-08d4a146f234" providerId="ADAL" clId="{D306BB26-EB9F-4E01-A290-0111A7EB9CD4}" dt="2022-03-09T14:29:46.341" v="3068" actId="14100"/>
          <ac:spMkLst>
            <pc:docMk/>
            <pc:sldMk cId="2344202603" sldId="377"/>
            <ac:spMk id="23" creationId="{06915AF6-FFA3-4F01-8B96-8A84D1BE1F87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1:00.738" v="3075" actId="14100"/>
        <pc:sldMkLst>
          <pc:docMk/>
          <pc:sldMk cId="2362448012" sldId="378"/>
        </pc:sldMkLst>
        <pc:spChg chg="del mod ord">
          <ac:chgData name="Baciu Lupascu, Raluca" userId="68b8499e-70c7-46a5-a7f5-08d4a146f234" providerId="ADAL" clId="{D306BB26-EB9F-4E01-A290-0111A7EB9CD4}" dt="2022-03-09T14:30:47.417" v="3072" actId="478"/>
          <ac:spMkLst>
            <pc:docMk/>
            <pc:sldMk cId="2362448012" sldId="378"/>
            <ac:spMk id="2" creationId="{08F25CF5-8FE0-4EF1-8712-5FA7E517D144}"/>
          </ac:spMkLst>
        </pc:spChg>
        <pc:spChg chg="add del mod">
          <ac:chgData name="Baciu Lupascu, Raluca" userId="68b8499e-70c7-46a5-a7f5-08d4a146f234" providerId="ADAL" clId="{D306BB26-EB9F-4E01-A290-0111A7EB9CD4}" dt="2022-03-09T13:35:47.899" v="36" actId="6264"/>
          <ac:spMkLst>
            <pc:docMk/>
            <pc:sldMk cId="2362448012" sldId="378"/>
            <ac:spMk id="3" creationId="{D39B52C0-675F-46B5-8D7B-650B29A95381}"/>
          </ac:spMkLst>
        </pc:spChg>
        <pc:spChg chg="del mod ord">
          <ac:chgData name="Baciu Lupascu, Raluca" userId="68b8499e-70c7-46a5-a7f5-08d4a146f234" providerId="ADAL" clId="{D306BB26-EB9F-4E01-A290-0111A7EB9CD4}" dt="2022-03-09T13:35:48.830" v="487"/>
          <ac:spMkLst>
            <pc:docMk/>
            <pc:sldMk cId="2362448012" sldId="378"/>
            <ac:spMk id="4" creationId="{81A8F9B5-1DED-475B-92A2-85F1041E2522}"/>
          </ac:spMkLst>
        </pc:spChg>
        <pc:spChg chg="del mod ord">
          <ac:chgData name="Baciu Lupascu, Raluca" userId="68b8499e-70c7-46a5-a7f5-08d4a146f234" providerId="ADAL" clId="{D306BB26-EB9F-4E01-A290-0111A7EB9CD4}" dt="2022-03-09T13:35:48.830" v="489"/>
          <ac:spMkLst>
            <pc:docMk/>
            <pc:sldMk cId="2362448012" sldId="378"/>
            <ac:spMk id="5" creationId="{950D296B-3669-44C7-A71D-0915FA35FF0D}"/>
          </ac:spMkLst>
        </pc:spChg>
        <pc:spChg chg="del mod ord">
          <ac:chgData name="Baciu Lupascu, Raluca" userId="68b8499e-70c7-46a5-a7f5-08d4a146f234" providerId="ADAL" clId="{D306BB26-EB9F-4E01-A290-0111A7EB9CD4}" dt="2022-03-09T13:35:48.830" v="488"/>
          <ac:spMkLst>
            <pc:docMk/>
            <pc:sldMk cId="2362448012" sldId="378"/>
            <ac:spMk id="6" creationId="{FB18D14A-17A8-41DF-A7E5-7DEC557D23CE}"/>
          </ac:spMkLst>
        </pc:spChg>
        <pc:spChg chg="add del mod">
          <ac:chgData name="Baciu Lupascu, Raluca" userId="68b8499e-70c7-46a5-a7f5-08d4a146f234" providerId="ADAL" clId="{D306BB26-EB9F-4E01-A290-0111A7EB9CD4}" dt="2022-03-09T13:35:47.899" v="36" actId="6264"/>
          <ac:spMkLst>
            <pc:docMk/>
            <pc:sldMk cId="2362448012" sldId="378"/>
            <ac:spMk id="8" creationId="{A783A245-7591-45C3-AF74-E9BE75C0EF72}"/>
          </ac:spMkLst>
        </pc:spChg>
        <pc:spChg chg="mod">
          <ac:chgData name="Baciu Lupascu, Raluca" userId="68b8499e-70c7-46a5-a7f5-08d4a146f234" providerId="ADAL" clId="{D306BB26-EB9F-4E01-A290-0111A7EB9CD4}" dt="2022-03-09T13:35:56.097" v="1652" actId="790"/>
          <ac:spMkLst>
            <pc:docMk/>
            <pc:sldMk cId="2362448012" sldId="378"/>
            <ac:spMk id="10" creationId="{864AA928-2CB7-4B1D-9B75-AB4AC499B6FD}"/>
          </ac:spMkLst>
        </pc:spChg>
        <pc:spChg chg="add del mod">
          <ac:chgData name="Baciu Lupascu, Raluca" userId="68b8499e-70c7-46a5-a7f5-08d4a146f234" providerId="ADAL" clId="{D306BB26-EB9F-4E01-A290-0111A7EB9CD4}" dt="2022-03-09T13:35:47.899" v="36" actId="6264"/>
          <ac:spMkLst>
            <pc:docMk/>
            <pc:sldMk cId="2362448012" sldId="378"/>
            <ac:spMk id="11" creationId="{E321EFD9-6405-491C-B110-5697A0842774}"/>
          </ac:spMkLst>
        </pc:spChg>
        <pc:spChg chg="add del mod">
          <ac:chgData name="Baciu Lupascu, Raluca" userId="68b8499e-70c7-46a5-a7f5-08d4a146f234" providerId="ADAL" clId="{D306BB26-EB9F-4E01-A290-0111A7EB9CD4}" dt="2022-03-09T13:35:47.899" v="36" actId="6264"/>
          <ac:spMkLst>
            <pc:docMk/>
            <pc:sldMk cId="2362448012" sldId="378"/>
            <ac:spMk id="12" creationId="{22A0AA70-06A9-4DC1-82DE-B22E44C9FA23}"/>
          </ac:spMkLst>
        </pc:spChg>
        <pc:spChg chg="add del mod ord">
          <ac:chgData name="Baciu Lupascu, Raluca" userId="68b8499e-70c7-46a5-a7f5-08d4a146f234" providerId="ADAL" clId="{D306BB26-EB9F-4E01-A290-0111A7EB9CD4}" dt="2022-03-09T13:35:48.840" v="494"/>
          <ac:spMkLst>
            <pc:docMk/>
            <pc:sldMk cId="2362448012" sldId="378"/>
            <ac:spMk id="13" creationId="{6BE7E20C-D961-40CF-A14E-4A15736F76BE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62448012" sldId="378"/>
            <ac:spMk id="14" creationId="{A3A989B7-87A5-46A8-8CC7-C59A9C2356B2}"/>
          </ac:spMkLst>
        </pc:spChg>
        <pc:spChg chg="add del mod">
          <ac:chgData name="Baciu Lupascu, Raluca" userId="68b8499e-70c7-46a5-a7f5-08d4a146f234" providerId="ADAL" clId="{D306BB26-EB9F-4E01-A290-0111A7EB9CD4}" dt="2022-03-09T13:35:56.396" v="2032"/>
          <ac:spMkLst>
            <pc:docMk/>
            <pc:sldMk cId="2362448012" sldId="378"/>
            <ac:spMk id="15" creationId="{596F23A6-2F13-4192-A3E7-94CEE0AE974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62448012" sldId="378"/>
            <ac:spMk id="16" creationId="{562D542E-E2DD-446D-BFDC-75A3B80E758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62448012" sldId="378"/>
            <ac:spMk id="17" creationId="{0BE78254-9B4E-4C47-82EA-5A77C9F6E10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362448012" sldId="378"/>
            <ac:spMk id="18" creationId="{26002CFD-4862-4B21-8C55-131B6E6F75E1}"/>
          </ac:spMkLst>
        </pc:spChg>
        <pc:spChg chg="add del mod ord">
          <ac:chgData name="Baciu Lupascu, Raluca" userId="68b8499e-70c7-46a5-a7f5-08d4a146f234" providerId="ADAL" clId="{D306BB26-EB9F-4E01-A290-0111A7EB9CD4}" dt="2022-03-09T14:30:44.494" v="3071" actId="478"/>
          <ac:spMkLst>
            <pc:docMk/>
            <pc:sldMk cId="2362448012" sldId="378"/>
            <ac:spMk id="19" creationId="{D27F3CDA-E6B2-4F62-9D7C-B444FF632611}"/>
          </ac:spMkLst>
        </pc:spChg>
        <pc:spChg chg="add del mod">
          <ac:chgData name="Baciu Lupascu, Raluca" userId="68b8499e-70c7-46a5-a7f5-08d4a146f234" providerId="ADAL" clId="{D306BB26-EB9F-4E01-A290-0111A7EB9CD4}" dt="2022-03-09T14:30:49.618" v="3073" actId="478"/>
          <ac:spMkLst>
            <pc:docMk/>
            <pc:sldMk cId="2362448012" sldId="378"/>
            <ac:spMk id="21" creationId="{C9807266-B268-4977-AEFB-6C5805885AAA}"/>
          </ac:spMkLst>
        </pc:spChg>
        <pc:spChg chg="add mod">
          <ac:chgData name="Baciu Lupascu, Raluca" userId="68b8499e-70c7-46a5-a7f5-08d4a146f234" providerId="ADAL" clId="{D306BB26-EB9F-4E01-A290-0111A7EB9CD4}" dt="2022-03-09T14:31:00.738" v="3075" actId="14100"/>
          <ac:spMkLst>
            <pc:docMk/>
            <pc:sldMk cId="2362448012" sldId="378"/>
            <ac:spMk id="22" creationId="{6537559C-FB41-48E5-88E6-75AA3B6E82D2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2:11.881" v="3085" actId="14100"/>
        <pc:sldMkLst>
          <pc:docMk/>
          <pc:sldMk cId="1775848385" sldId="379"/>
        </pc:sldMkLst>
        <pc:spChg chg="del mod ord">
          <ac:chgData name="Baciu Lupascu, Raluca" userId="68b8499e-70c7-46a5-a7f5-08d4a146f234" providerId="ADAL" clId="{D306BB26-EB9F-4E01-A290-0111A7EB9CD4}" dt="2022-03-09T14:32:03.702" v="3082" actId="478"/>
          <ac:spMkLst>
            <pc:docMk/>
            <pc:sldMk cId="1775848385" sldId="379"/>
            <ac:spMk id="2" creationId="{F24A7801-E696-4035-8828-8BB9B0246DD5}"/>
          </ac:spMkLst>
        </pc:spChg>
        <pc:spChg chg="mod ord">
          <ac:chgData name="Baciu Lupascu, Raluca" userId="68b8499e-70c7-46a5-a7f5-08d4a146f234" providerId="ADAL" clId="{D306BB26-EB9F-4E01-A290-0111A7EB9CD4}" dt="2022-03-09T14:31:55.503" v="3081" actId="14100"/>
          <ac:spMkLst>
            <pc:docMk/>
            <pc:sldMk cId="1775848385" sldId="379"/>
            <ac:spMk id="3" creationId="{A64BFC8C-5469-40E3-A397-4C5285CF07EF}"/>
          </ac:spMkLst>
        </pc:spChg>
        <pc:spChg chg="del mod ord">
          <ac:chgData name="Baciu Lupascu, Raluca" userId="68b8499e-70c7-46a5-a7f5-08d4a146f234" providerId="ADAL" clId="{D306BB26-EB9F-4E01-A290-0111A7EB9CD4}" dt="2022-03-09T13:35:48.853" v="510"/>
          <ac:spMkLst>
            <pc:docMk/>
            <pc:sldMk cId="1775848385" sldId="379"/>
            <ac:spMk id="4" creationId="{C671A26F-693D-41B0-9D23-8D7CA77D88D5}"/>
          </ac:spMkLst>
        </pc:spChg>
        <pc:spChg chg="del mod ord">
          <ac:chgData name="Baciu Lupascu, Raluca" userId="68b8499e-70c7-46a5-a7f5-08d4a146f234" providerId="ADAL" clId="{D306BB26-EB9F-4E01-A290-0111A7EB9CD4}" dt="2022-03-09T13:35:48.853" v="512"/>
          <ac:spMkLst>
            <pc:docMk/>
            <pc:sldMk cId="1775848385" sldId="379"/>
            <ac:spMk id="5" creationId="{1FE77190-2291-4DD5-B942-E5032065A397}"/>
          </ac:spMkLst>
        </pc:spChg>
        <pc:spChg chg="del mod ord">
          <ac:chgData name="Baciu Lupascu, Raluca" userId="68b8499e-70c7-46a5-a7f5-08d4a146f234" providerId="ADAL" clId="{D306BB26-EB9F-4E01-A290-0111A7EB9CD4}" dt="2022-03-09T13:35:48.853" v="511"/>
          <ac:spMkLst>
            <pc:docMk/>
            <pc:sldMk cId="1775848385" sldId="379"/>
            <ac:spMk id="6" creationId="{9AEA01DB-3EC3-4695-8FF3-AA3C1119E47E}"/>
          </ac:spMkLst>
        </pc:spChg>
        <pc:spChg chg="add del mod">
          <ac:chgData name="Baciu Lupascu, Raluca" userId="68b8499e-70c7-46a5-a7f5-08d4a146f234" providerId="ADAL" clId="{D306BB26-EB9F-4E01-A290-0111A7EB9CD4}" dt="2022-03-09T13:35:47.934" v="38" actId="6264"/>
          <ac:spMkLst>
            <pc:docMk/>
            <pc:sldMk cId="1775848385" sldId="379"/>
            <ac:spMk id="9" creationId="{96E5C668-71AD-4B95-9275-72CCEB8B180C}"/>
          </ac:spMkLst>
        </pc:spChg>
        <pc:spChg chg="add del mod">
          <ac:chgData name="Baciu Lupascu, Raluca" userId="68b8499e-70c7-46a5-a7f5-08d4a146f234" providerId="ADAL" clId="{D306BB26-EB9F-4E01-A290-0111A7EB9CD4}" dt="2022-03-09T13:35:47.934" v="38" actId="6264"/>
          <ac:spMkLst>
            <pc:docMk/>
            <pc:sldMk cId="1775848385" sldId="379"/>
            <ac:spMk id="10" creationId="{BE211114-6F75-4D53-AC27-A2B600B445F3}"/>
          </ac:spMkLst>
        </pc:spChg>
        <pc:spChg chg="add del mod">
          <ac:chgData name="Baciu Lupascu, Raluca" userId="68b8499e-70c7-46a5-a7f5-08d4a146f234" providerId="ADAL" clId="{D306BB26-EB9F-4E01-A290-0111A7EB9CD4}" dt="2022-03-09T13:35:47.934" v="38" actId="6264"/>
          <ac:spMkLst>
            <pc:docMk/>
            <pc:sldMk cId="1775848385" sldId="379"/>
            <ac:spMk id="11" creationId="{B7E9DE7F-3207-4707-AF08-C0AF1DC15F9A}"/>
          </ac:spMkLst>
        </pc:spChg>
        <pc:spChg chg="add del mod">
          <ac:chgData name="Baciu Lupascu, Raluca" userId="68b8499e-70c7-46a5-a7f5-08d4a146f234" providerId="ADAL" clId="{D306BB26-EB9F-4E01-A290-0111A7EB9CD4}" dt="2022-03-09T13:35:47.934" v="38" actId="6264"/>
          <ac:spMkLst>
            <pc:docMk/>
            <pc:sldMk cId="1775848385" sldId="379"/>
            <ac:spMk id="12" creationId="{B92D050D-B7CD-41BF-B811-EE0F7E86610D}"/>
          </ac:spMkLst>
        </pc:spChg>
        <pc:spChg chg="add del mod">
          <ac:chgData name="Baciu Lupascu, Raluca" userId="68b8499e-70c7-46a5-a7f5-08d4a146f234" providerId="ADAL" clId="{D306BB26-EB9F-4E01-A290-0111A7EB9CD4}" dt="2022-03-09T13:35:47.934" v="38" actId="6264"/>
          <ac:spMkLst>
            <pc:docMk/>
            <pc:sldMk cId="1775848385" sldId="379"/>
            <ac:spMk id="13" creationId="{AB380838-7A62-4735-99AD-7AAB35147909}"/>
          </ac:spMkLst>
        </pc:spChg>
        <pc:spChg chg="add del mod">
          <ac:chgData name="Baciu Lupascu, Raluca" userId="68b8499e-70c7-46a5-a7f5-08d4a146f234" providerId="ADAL" clId="{D306BB26-EB9F-4E01-A290-0111A7EB9CD4}" dt="2022-03-09T13:35:56.400" v="2042"/>
          <ac:spMkLst>
            <pc:docMk/>
            <pc:sldMk cId="1775848385" sldId="379"/>
            <ac:spMk id="14" creationId="{A953B7B0-FB77-4454-94A4-B68C2079D2E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775848385" sldId="379"/>
            <ac:spMk id="15" creationId="{00EA8A02-C905-4A53-B8AC-3DF132086F3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775848385" sldId="379"/>
            <ac:spMk id="16" creationId="{96500CC0-3C10-45C6-8B17-044C65650DD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775848385" sldId="379"/>
            <ac:spMk id="17" creationId="{837A9A51-2633-4EB5-AA7E-83B8BE372368}"/>
          </ac:spMkLst>
        </pc:spChg>
        <pc:spChg chg="add del mod">
          <ac:chgData name="Baciu Lupascu, Raluca" userId="68b8499e-70c7-46a5-a7f5-08d4a146f234" providerId="ADAL" clId="{D306BB26-EB9F-4E01-A290-0111A7EB9CD4}" dt="2022-03-09T14:32:05.322" v="3083" actId="478"/>
          <ac:spMkLst>
            <pc:docMk/>
            <pc:sldMk cId="1775848385" sldId="379"/>
            <ac:spMk id="19" creationId="{BF1DF2B8-B0C3-4F27-8A20-4253BA36921A}"/>
          </ac:spMkLst>
        </pc:spChg>
        <pc:spChg chg="add mod">
          <ac:chgData name="Baciu Lupascu, Raluca" userId="68b8499e-70c7-46a5-a7f5-08d4a146f234" providerId="ADAL" clId="{D306BB26-EB9F-4E01-A290-0111A7EB9CD4}" dt="2022-03-09T14:32:11.881" v="3085" actId="14100"/>
          <ac:spMkLst>
            <pc:docMk/>
            <pc:sldMk cId="1775848385" sldId="379"/>
            <ac:spMk id="20" creationId="{7548A64B-68B0-496E-BB68-20A3057EFB5B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5:20.515" v="3011" actId="1076"/>
        <pc:sldMkLst>
          <pc:docMk/>
          <pc:sldMk cId="3089889944" sldId="380"/>
        </pc:sldMkLst>
        <pc:spChg chg="add del mod ord">
          <ac:chgData name="Baciu Lupascu, Raluca" userId="68b8499e-70c7-46a5-a7f5-08d4a146f234" providerId="ADAL" clId="{D306BB26-EB9F-4E01-A290-0111A7EB9CD4}" dt="2022-03-09T14:25:03.786" v="3009" actId="403"/>
          <ac:spMkLst>
            <pc:docMk/>
            <pc:sldMk cId="3089889944" sldId="380"/>
            <ac:spMk id="2" creationId="{C81BBD32-FC58-494E-80B3-E46802DF09F3}"/>
          </ac:spMkLst>
        </pc:spChg>
        <pc:spChg chg="mod ord">
          <ac:chgData name="Baciu Lupascu, Raluca" userId="68b8499e-70c7-46a5-a7f5-08d4a146f234" providerId="ADAL" clId="{D306BB26-EB9F-4E01-A290-0111A7EB9CD4}" dt="2022-03-09T14:23:46.572" v="2960" actId="14100"/>
          <ac:spMkLst>
            <pc:docMk/>
            <pc:sldMk cId="3089889944" sldId="380"/>
            <ac:spMk id="3" creationId="{CFE22D11-EA53-45BC-BA9C-66A9A3231122}"/>
          </ac:spMkLst>
        </pc:spChg>
        <pc:spChg chg="del mod ord">
          <ac:chgData name="Baciu Lupascu, Raluca" userId="68b8499e-70c7-46a5-a7f5-08d4a146f234" providerId="ADAL" clId="{D306BB26-EB9F-4E01-A290-0111A7EB9CD4}" dt="2022-03-09T13:35:48.715" v="384"/>
          <ac:spMkLst>
            <pc:docMk/>
            <pc:sldMk cId="3089889944" sldId="380"/>
            <ac:spMk id="4" creationId="{5C81397B-9126-4C0B-8BE6-B202CF1168D4}"/>
          </ac:spMkLst>
        </pc:spChg>
        <pc:spChg chg="del mod ord">
          <ac:chgData name="Baciu Lupascu, Raluca" userId="68b8499e-70c7-46a5-a7f5-08d4a146f234" providerId="ADAL" clId="{D306BB26-EB9F-4E01-A290-0111A7EB9CD4}" dt="2022-03-09T13:35:48.715" v="386"/>
          <ac:spMkLst>
            <pc:docMk/>
            <pc:sldMk cId="3089889944" sldId="380"/>
            <ac:spMk id="5" creationId="{584C3F73-F795-4107-B66B-7A3E93D65118}"/>
          </ac:spMkLst>
        </pc:spChg>
        <pc:spChg chg="del mod ord">
          <ac:chgData name="Baciu Lupascu, Raluca" userId="68b8499e-70c7-46a5-a7f5-08d4a146f234" providerId="ADAL" clId="{D306BB26-EB9F-4E01-A290-0111A7EB9CD4}" dt="2022-03-09T13:35:48.715" v="385"/>
          <ac:spMkLst>
            <pc:docMk/>
            <pc:sldMk cId="3089889944" sldId="380"/>
            <ac:spMk id="6" creationId="{062A04A3-4897-4169-8988-573B2DDED391}"/>
          </ac:spMkLst>
        </pc:spChg>
        <pc:spChg chg="add del mod">
          <ac:chgData name="Baciu Lupascu, Raluca" userId="68b8499e-70c7-46a5-a7f5-08d4a146f234" providerId="ADAL" clId="{D306BB26-EB9F-4E01-A290-0111A7EB9CD4}" dt="2022-03-09T13:35:47.729" v="27" actId="6264"/>
          <ac:spMkLst>
            <pc:docMk/>
            <pc:sldMk cId="3089889944" sldId="380"/>
            <ac:spMk id="7" creationId="{4125C2A0-BBE1-42F3-A187-08DE0DD0157B}"/>
          </ac:spMkLst>
        </pc:spChg>
        <pc:spChg chg="add del mod">
          <ac:chgData name="Baciu Lupascu, Raluca" userId="68b8499e-70c7-46a5-a7f5-08d4a146f234" providerId="ADAL" clId="{D306BB26-EB9F-4E01-A290-0111A7EB9CD4}" dt="2022-03-09T13:35:47.729" v="27" actId="6264"/>
          <ac:spMkLst>
            <pc:docMk/>
            <pc:sldMk cId="3089889944" sldId="380"/>
            <ac:spMk id="9" creationId="{576304BF-0C2E-438D-9805-E7C07C3095AC}"/>
          </ac:spMkLst>
        </pc:spChg>
        <pc:spChg chg="add del mod">
          <ac:chgData name="Baciu Lupascu, Raluca" userId="68b8499e-70c7-46a5-a7f5-08d4a146f234" providerId="ADAL" clId="{D306BB26-EB9F-4E01-A290-0111A7EB9CD4}" dt="2022-03-09T13:35:47.729" v="27" actId="6264"/>
          <ac:spMkLst>
            <pc:docMk/>
            <pc:sldMk cId="3089889944" sldId="380"/>
            <ac:spMk id="10" creationId="{B09AEA61-9AFC-4C26-AC6F-A9A19B6FB45F}"/>
          </ac:spMkLst>
        </pc:spChg>
        <pc:spChg chg="add del mod">
          <ac:chgData name="Baciu Lupascu, Raluca" userId="68b8499e-70c7-46a5-a7f5-08d4a146f234" providerId="ADAL" clId="{D306BB26-EB9F-4E01-A290-0111A7EB9CD4}" dt="2022-03-09T13:35:47.729" v="27" actId="6264"/>
          <ac:spMkLst>
            <pc:docMk/>
            <pc:sldMk cId="3089889944" sldId="380"/>
            <ac:spMk id="11" creationId="{601496F3-8807-4DA8-BBD0-7A199B9D3144}"/>
          </ac:spMkLst>
        </pc:spChg>
        <pc:spChg chg="add del mod">
          <ac:chgData name="Baciu Lupascu, Raluca" userId="68b8499e-70c7-46a5-a7f5-08d4a146f234" providerId="ADAL" clId="{D306BB26-EB9F-4E01-A290-0111A7EB9CD4}" dt="2022-03-09T13:35:47.729" v="27" actId="6264"/>
          <ac:spMkLst>
            <pc:docMk/>
            <pc:sldMk cId="3089889944" sldId="380"/>
            <ac:spMk id="12" creationId="{F34130EC-317D-4D71-A660-E0F2EF384DDF}"/>
          </ac:spMkLst>
        </pc:spChg>
        <pc:spChg chg="add del mod">
          <ac:chgData name="Baciu Lupascu, Raluca" userId="68b8499e-70c7-46a5-a7f5-08d4a146f234" providerId="ADAL" clId="{D306BB26-EB9F-4E01-A290-0111A7EB9CD4}" dt="2022-03-09T13:35:56.378" v="1987"/>
          <ac:spMkLst>
            <pc:docMk/>
            <pc:sldMk cId="3089889944" sldId="380"/>
            <ac:spMk id="13" creationId="{3002B7EE-C0CF-4CC6-8CE8-2FAB37B2A92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089889944" sldId="380"/>
            <ac:spMk id="14" creationId="{CEEB6C2A-796E-4649-A311-F35F58DF7C2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089889944" sldId="380"/>
            <ac:spMk id="15" creationId="{10F68DA4-3A9B-4BA6-A7B4-A9D127669AE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089889944" sldId="380"/>
            <ac:spMk id="16" creationId="{E18B8FC6-A5AC-47BB-8C60-6BC2C8F5323B}"/>
          </ac:spMkLst>
        </pc:spChg>
        <pc:spChg chg="mod topLvl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18" creationId="{29ED3AFD-8B4A-41CA-99C4-0638C9CCE10D}"/>
          </ac:spMkLst>
        </pc:spChg>
        <pc:spChg chg="mod topLvl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19" creationId="{52289229-B72D-4E86-BED7-392DF48F0D74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3" creationId="{FD2E6A58-95A2-4907-B10C-EB579F3461AF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4" creationId="{F5192598-A90E-48DF-9B7F-5F944A840561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5" creationId="{7B89F353-6958-46C5-B35A-E46C6FBCD69C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6" creationId="{F5361136-0EBC-4538-B1D6-B1A320EEF556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7" creationId="{B186CD9C-491F-470E-AEA0-7B6B1CE4E6C7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8" creationId="{01FDB1DB-8978-40E4-9954-548EA5C07B7F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29" creationId="{ADA4A730-6E2C-43D3-8CBF-837EC4936B5E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30" creationId="{7C35FD9C-F78F-440A-A52A-05291074BC7B}"/>
          </ac:spMkLst>
        </pc:spChg>
        <pc:spChg chg="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31" creationId="{1DCB57EE-E157-40DD-BA36-6BF7E6F23B69}"/>
          </ac:spMkLst>
        </pc:spChg>
        <pc:spChg chg="add del mod">
          <ac:chgData name="Baciu Lupascu, Raluca" userId="68b8499e-70c7-46a5-a7f5-08d4a146f234" providerId="ADAL" clId="{D306BB26-EB9F-4E01-A290-0111A7EB9CD4}" dt="2022-03-09T14:24:00.870" v="3002"/>
          <ac:spMkLst>
            <pc:docMk/>
            <pc:sldMk cId="3089889944" sldId="380"/>
            <ac:spMk id="34" creationId="{DAED0EE8-FD9D-4DD1-9432-DCEFA3565546}"/>
          </ac:spMkLst>
        </pc:spChg>
        <pc:grpChg chg="add del mod">
          <ac:chgData name="Baciu Lupascu, Raluca" userId="68b8499e-70c7-46a5-a7f5-08d4a146f234" providerId="ADAL" clId="{D306BB26-EB9F-4E01-A290-0111A7EB9CD4}" dt="2022-03-09T14:24:00.870" v="3002"/>
          <ac:grpSpMkLst>
            <pc:docMk/>
            <pc:sldMk cId="3089889944" sldId="380"/>
            <ac:grpSpMk id="17" creationId="{EAF72323-E056-4D11-838B-4079425F0C7B}"/>
          </ac:grpSpMkLst>
        </pc:grpChg>
        <pc:grpChg chg="mod topLvl">
          <ac:chgData name="Baciu Lupascu, Raluca" userId="68b8499e-70c7-46a5-a7f5-08d4a146f234" providerId="ADAL" clId="{D306BB26-EB9F-4E01-A290-0111A7EB9CD4}" dt="2022-03-09T14:24:00.870" v="3002"/>
          <ac:grpSpMkLst>
            <pc:docMk/>
            <pc:sldMk cId="3089889944" sldId="380"/>
            <ac:grpSpMk id="20" creationId="{B00CE96B-1021-470F-8E51-07D5E6BEB723}"/>
          </ac:grpSpMkLst>
        </pc:grpChg>
        <pc:grpChg chg="mod topLvl">
          <ac:chgData name="Baciu Lupascu, Raluca" userId="68b8499e-70c7-46a5-a7f5-08d4a146f234" providerId="ADAL" clId="{D306BB26-EB9F-4E01-A290-0111A7EB9CD4}" dt="2022-03-09T14:24:00.870" v="3002"/>
          <ac:grpSpMkLst>
            <pc:docMk/>
            <pc:sldMk cId="3089889944" sldId="380"/>
            <ac:grpSpMk id="21" creationId="{4F6CDA3A-03FE-47A0-819A-3C6CE719FD15}"/>
          </ac:grpSpMkLst>
        </pc:grpChg>
        <pc:grpChg chg="mod topLvl">
          <ac:chgData name="Baciu Lupascu, Raluca" userId="68b8499e-70c7-46a5-a7f5-08d4a146f234" providerId="ADAL" clId="{D306BB26-EB9F-4E01-A290-0111A7EB9CD4}" dt="2022-03-09T14:24:00.870" v="3002"/>
          <ac:grpSpMkLst>
            <pc:docMk/>
            <pc:sldMk cId="3089889944" sldId="380"/>
            <ac:grpSpMk id="22" creationId="{A1D26A75-D63B-49AA-B659-7C05CFF97189}"/>
          </ac:grpSpMkLst>
        </pc:grpChg>
        <pc:grpChg chg="add mod">
          <ac:chgData name="Baciu Lupascu, Raluca" userId="68b8499e-70c7-46a5-a7f5-08d4a146f234" providerId="ADAL" clId="{D306BB26-EB9F-4E01-A290-0111A7EB9CD4}" dt="2022-03-09T14:24:00.870" v="3002"/>
          <ac:grpSpMkLst>
            <pc:docMk/>
            <pc:sldMk cId="3089889944" sldId="380"/>
            <ac:grpSpMk id="32" creationId="{7B28EA25-BFB0-4E3C-AB53-596F75CDA72C}"/>
          </ac:grpSpMkLst>
        </pc:grpChg>
        <pc:picChg chg="mod">
          <ac:chgData name="Baciu Lupascu, Raluca" userId="68b8499e-70c7-46a5-a7f5-08d4a146f234" providerId="ADAL" clId="{D306BB26-EB9F-4E01-A290-0111A7EB9CD4}" dt="2022-03-09T14:25:20.515" v="3011" actId="1076"/>
          <ac:picMkLst>
            <pc:docMk/>
            <pc:sldMk cId="3089889944" sldId="380"/>
            <ac:picMk id="8" creationId="{45A9CE6D-646F-4CE7-B793-99DB5E0B6C6F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5:26.184" v="3013" actId="478"/>
        <pc:sldMkLst>
          <pc:docMk/>
          <pc:sldMk cId="3271274346" sldId="381"/>
        </pc:sldMkLst>
        <pc:spChg chg="add del mod">
          <ac:chgData name="Baciu Lupascu, Raluca" userId="68b8499e-70c7-46a5-a7f5-08d4a146f234" providerId="ADAL" clId="{D306BB26-EB9F-4E01-A290-0111A7EB9CD4}" dt="2022-03-09T13:35:47.745" v="28" actId="6264"/>
          <ac:spMkLst>
            <pc:docMk/>
            <pc:sldMk cId="3271274346" sldId="381"/>
            <ac:spMk id="2" creationId="{CE8DD30F-9C1E-4461-8A49-617206FB3C02}"/>
          </ac:spMkLst>
        </pc:spChg>
        <pc:spChg chg="add del mod">
          <ac:chgData name="Baciu Lupascu, Raluca" userId="68b8499e-70c7-46a5-a7f5-08d4a146f234" providerId="ADAL" clId="{D306BB26-EB9F-4E01-A290-0111A7EB9CD4}" dt="2022-03-09T13:35:47.745" v="28" actId="6264"/>
          <ac:spMkLst>
            <pc:docMk/>
            <pc:sldMk cId="3271274346" sldId="381"/>
            <ac:spMk id="3" creationId="{773D2126-A48C-4CDE-A294-553266384F58}"/>
          </ac:spMkLst>
        </pc:spChg>
        <pc:spChg chg="del mod ord">
          <ac:chgData name="Baciu Lupascu, Raluca" userId="68b8499e-70c7-46a5-a7f5-08d4a146f234" providerId="ADAL" clId="{D306BB26-EB9F-4E01-A290-0111A7EB9CD4}" dt="2022-03-09T13:35:48.730" v="396"/>
          <ac:spMkLst>
            <pc:docMk/>
            <pc:sldMk cId="3271274346" sldId="381"/>
            <ac:spMk id="4" creationId="{D5829EA5-676F-4215-8ED0-D30B362F3D14}"/>
          </ac:spMkLst>
        </pc:spChg>
        <pc:spChg chg="del mod ord">
          <ac:chgData name="Baciu Lupascu, Raluca" userId="68b8499e-70c7-46a5-a7f5-08d4a146f234" providerId="ADAL" clId="{D306BB26-EB9F-4E01-A290-0111A7EB9CD4}" dt="2022-03-09T13:35:48.730" v="398"/>
          <ac:spMkLst>
            <pc:docMk/>
            <pc:sldMk cId="3271274346" sldId="381"/>
            <ac:spMk id="5" creationId="{BB104D95-6235-4B12-96CC-E627AE3F300A}"/>
          </ac:spMkLst>
        </pc:spChg>
        <pc:spChg chg="del mod ord">
          <ac:chgData name="Baciu Lupascu, Raluca" userId="68b8499e-70c7-46a5-a7f5-08d4a146f234" providerId="ADAL" clId="{D306BB26-EB9F-4E01-A290-0111A7EB9CD4}" dt="2022-03-09T13:35:48.730" v="397"/>
          <ac:spMkLst>
            <pc:docMk/>
            <pc:sldMk cId="3271274346" sldId="381"/>
            <ac:spMk id="6" creationId="{7AF2C680-C854-4BF6-9BFF-97B9649BD007}"/>
          </ac:spMkLst>
        </pc:spChg>
        <pc:spChg chg="add del mod">
          <ac:chgData name="Baciu Lupascu, Raluca" userId="68b8499e-70c7-46a5-a7f5-08d4a146f234" providerId="ADAL" clId="{D306BB26-EB9F-4E01-A290-0111A7EB9CD4}" dt="2022-03-09T13:35:47.745" v="28" actId="6264"/>
          <ac:spMkLst>
            <pc:docMk/>
            <pc:sldMk cId="3271274346" sldId="381"/>
            <ac:spMk id="8" creationId="{4C1B02CB-DDD9-4F90-8383-04B68BB334D4}"/>
          </ac:spMkLst>
        </pc:spChg>
        <pc:spChg chg="add del mod ord">
          <ac:chgData name="Baciu Lupascu, Raluca" userId="68b8499e-70c7-46a5-a7f5-08d4a146f234" providerId="ADAL" clId="{D306BB26-EB9F-4E01-A290-0111A7EB9CD4}" dt="2022-03-09T13:35:48.741" v="403"/>
          <ac:spMkLst>
            <pc:docMk/>
            <pc:sldMk cId="3271274346" sldId="381"/>
            <ac:spMk id="9" creationId="{5E28DB8E-80FC-4BE2-B59B-A6892E4586FE}"/>
          </ac:spMkLst>
        </pc:spChg>
        <pc:spChg chg="add del mod ord">
          <ac:chgData name="Baciu Lupascu, Raluca" userId="68b8499e-70c7-46a5-a7f5-08d4a146f234" providerId="ADAL" clId="{D306BB26-EB9F-4E01-A290-0111A7EB9CD4}" dt="2022-03-09T13:35:48.741" v="403"/>
          <ac:spMkLst>
            <pc:docMk/>
            <pc:sldMk cId="3271274346" sldId="381"/>
            <ac:spMk id="10" creationId="{837AF087-576C-4B49-BB2C-F35EA63A6012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1274346" sldId="381"/>
            <ac:spMk id="11" creationId="{40217CC0-1B3F-4ACB-B606-B17EE7CCEF7E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1274346" sldId="381"/>
            <ac:spMk id="12" creationId="{F35791EF-4148-41E4-8280-F96E7D4BE9F1}"/>
          </ac:spMkLst>
        </pc:spChg>
        <pc:spChg chg="add del mod">
          <ac:chgData name="Baciu Lupascu, Raluca" userId="68b8499e-70c7-46a5-a7f5-08d4a146f234" providerId="ADAL" clId="{D306BB26-EB9F-4E01-A290-0111A7EB9CD4}" dt="2022-03-09T13:35:56.380" v="1992"/>
          <ac:spMkLst>
            <pc:docMk/>
            <pc:sldMk cId="3271274346" sldId="381"/>
            <ac:spMk id="13" creationId="{CC669CDC-EEBE-4405-9C7C-6CDACFE8551D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1274346" sldId="381"/>
            <ac:spMk id="14" creationId="{F5811D55-E26B-486F-A0A7-97A3F95A0EE1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1274346" sldId="381"/>
            <ac:spMk id="15" creationId="{B7CB08BD-8AD9-4AA5-A225-89089226C8C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71274346" sldId="381"/>
            <ac:spMk id="16" creationId="{1F1ADAAA-5BF7-450D-B05D-E3FC95AB78DD}"/>
          </ac:spMkLst>
        </pc:spChg>
        <pc:spChg chg="add del mod ord">
          <ac:chgData name="Baciu Lupascu, Raluca" userId="68b8499e-70c7-46a5-a7f5-08d4a146f234" providerId="ADAL" clId="{D306BB26-EB9F-4E01-A290-0111A7EB9CD4}" dt="2022-03-09T14:25:24.151" v="3012" actId="478"/>
          <ac:spMkLst>
            <pc:docMk/>
            <pc:sldMk cId="3271274346" sldId="381"/>
            <ac:spMk id="17" creationId="{5C0DBC65-860C-442A-9A2B-CC382AD7034A}"/>
          </ac:spMkLst>
        </pc:spChg>
        <pc:spChg chg="add del mod ord">
          <ac:chgData name="Baciu Lupascu, Raluca" userId="68b8499e-70c7-46a5-a7f5-08d4a146f234" providerId="ADAL" clId="{D306BB26-EB9F-4E01-A290-0111A7EB9CD4}" dt="2022-03-09T14:25:26.184" v="3013" actId="478"/>
          <ac:spMkLst>
            <pc:docMk/>
            <pc:sldMk cId="3271274346" sldId="381"/>
            <ac:spMk id="18" creationId="{A146EFB7-C250-43D4-8070-C3D49F1F52E5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2:33.965" v="3090" actId="14100"/>
        <pc:sldMkLst>
          <pc:docMk/>
          <pc:sldMk cId="1637586583" sldId="382"/>
        </pc:sldMkLst>
        <pc:spChg chg="del mod ord">
          <ac:chgData name="Baciu Lupascu, Raluca" userId="68b8499e-70c7-46a5-a7f5-08d4a146f234" providerId="ADAL" clId="{D306BB26-EB9F-4E01-A290-0111A7EB9CD4}" dt="2022-03-09T14:32:26.150" v="3086" actId="478"/>
          <ac:spMkLst>
            <pc:docMk/>
            <pc:sldMk cId="1637586583" sldId="382"/>
            <ac:spMk id="2" creationId="{EE9E7FBE-EB68-414C-80D3-80B1F0B16645}"/>
          </ac:spMkLst>
        </pc:spChg>
        <pc:spChg chg="mod ord">
          <ac:chgData name="Baciu Lupascu, Raluca" userId="68b8499e-70c7-46a5-a7f5-08d4a146f234" providerId="ADAL" clId="{D306BB26-EB9F-4E01-A290-0111A7EB9CD4}" dt="2022-03-09T14:32:33.965" v="3090" actId="14100"/>
          <ac:spMkLst>
            <pc:docMk/>
            <pc:sldMk cId="1637586583" sldId="382"/>
            <ac:spMk id="3" creationId="{DA693E93-2FF7-4620-8030-02AC0106C302}"/>
          </ac:spMkLst>
        </pc:spChg>
        <pc:spChg chg="del mod ord">
          <ac:chgData name="Baciu Lupascu, Raluca" userId="68b8499e-70c7-46a5-a7f5-08d4a146f234" providerId="ADAL" clId="{D306BB26-EB9F-4E01-A290-0111A7EB9CD4}" dt="2022-03-09T13:35:48.864" v="522"/>
          <ac:spMkLst>
            <pc:docMk/>
            <pc:sldMk cId="1637586583" sldId="382"/>
            <ac:spMk id="4" creationId="{D2FE8647-3253-4386-94D4-6059FFA6ED99}"/>
          </ac:spMkLst>
        </pc:spChg>
        <pc:spChg chg="del mod ord">
          <ac:chgData name="Baciu Lupascu, Raluca" userId="68b8499e-70c7-46a5-a7f5-08d4a146f234" providerId="ADAL" clId="{D306BB26-EB9F-4E01-A290-0111A7EB9CD4}" dt="2022-03-09T13:35:48.864" v="524"/>
          <ac:spMkLst>
            <pc:docMk/>
            <pc:sldMk cId="1637586583" sldId="382"/>
            <ac:spMk id="5" creationId="{D47D0B32-2061-4B15-BA24-BB12235AD9E5}"/>
          </ac:spMkLst>
        </pc:spChg>
        <pc:spChg chg="del mod ord">
          <ac:chgData name="Baciu Lupascu, Raluca" userId="68b8499e-70c7-46a5-a7f5-08d4a146f234" providerId="ADAL" clId="{D306BB26-EB9F-4E01-A290-0111A7EB9CD4}" dt="2022-03-09T13:35:48.864" v="523"/>
          <ac:spMkLst>
            <pc:docMk/>
            <pc:sldMk cId="1637586583" sldId="382"/>
            <ac:spMk id="6" creationId="{F2EFB9A0-E08B-4E79-9587-FC76DB443C0E}"/>
          </ac:spMkLst>
        </pc:spChg>
        <pc:spChg chg="add del mod">
          <ac:chgData name="Baciu Lupascu, Raluca" userId="68b8499e-70c7-46a5-a7f5-08d4a146f234" providerId="ADAL" clId="{D306BB26-EB9F-4E01-A290-0111A7EB9CD4}" dt="2022-03-09T13:35:47.955" v="39" actId="6264"/>
          <ac:spMkLst>
            <pc:docMk/>
            <pc:sldMk cId="1637586583" sldId="382"/>
            <ac:spMk id="8" creationId="{55C9B14E-E60E-4578-94ED-F1E3CF9F3DBB}"/>
          </ac:spMkLst>
        </pc:spChg>
        <pc:spChg chg="add del mod">
          <ac:chgData name="Baciu Lupascu, Raluca" userId="68b8499e-70c7-46a5-a7f5-08d4a146f234" providerId="ADAL" clId="{D306BB26-EB9F-4E01-A290-0111A7EB9CD4}" dt="2022-03-09T13:35:47.955" v="39" actId="6264"/>
          <ac:spMkLst>
            <pc:docMk/>
            <pc:sldMk cId="1637586583" sldId="382"/>
            <ac:spMk id="9" creationId="{53AA95C3-5FCA-4759-AB76-B400627B1B9B}"/>
          </ac:spMkLst>
        </pc:spChg>
        <pc:spChg chg="add del mod">
          <ac:chgData name="Baciu Lupascu, Raluca" userId="68b8499e-70c7-46a5-a7f5-08d4a146f234" providerId="ADAL" clId="{D306BB26-EB9F-4E01-A290-0111A7EB9CD4}" dt="2022-03-09T13:35:47.955" v="39" actId="6264"/>
          <ac:spMkLst>
            <pc:docMk/>
            <pc:sldMk cId="1637586583" sldId="382"/>
            <ac:spMk id="10" creationId="{829D064D-4AA6-481E-903F-5F13BE826999}"/>
          </ac:spMkLst>
        </pc:spChg>
        <pc:spChg chg="add del mod">
          <ac:chgData name="Baciu Lupascu, Raluca" userId="68b8499e-70c7-46a5-a7f5-08d4a146f234" providerId="ADAL" clId="{D306BB26-EB9F-4E01-A290-0111A7EB9CD4}" dt="2022-03-09T13:35:47.955" v="39" actId="6264"/>
          <ac:spMkLst>
            <pc:docMk/>
            <pc:sldMk cId="1637586583" sldId="382"/>
            <ac:spMk id="11" creationId="{874DEB54-D7BD-410E-A1FB-DA9C46B9BF3F}"/>
          </ac:spMkLst>
        </pc:spChg>
        <pc:spChg chg="add del mod">
          <ac:chgData name="Baciu Lupascu, Raluca" userId="68b8499e-70c7-46a5-a7f5-08d4a146f234" providerId="ADAL" clId="{D306BB26-EB9F-4E01-A290-0111A7EB9CD4}" dt="2022-03-09T13:35:47.955" v="39" actId="6264"/>
          <ac:spMkLst>
            <pc:docMk/>
            <pc:sldMk cId="1637586583" sldId="382"/>
            <ac:spMk id="12" creationId="{67998AA3-6A3A-46F5-846A-3E84B7F9C804}"/>
          </ac:spMkLst>
        </pc:spChg>
        <pc:spChg chg="add del mod">
          <ac:chgData name="Baciu Lupascu, Raluca" userId="68b8499e-70c7-46a5-a7f5-08d4a146f234" providerId="ADAL" clId="{D306BB26-EB9F-4E01-A290-0111A7EB9CD4}" dt="2022-03-09T13:35:56.402" v="2047"/>
          <ac:spMkLst>
            <pc:docMk/>
            <pc:sldMk cId="1637586583" sldId="382"/>
            <ac:spMk id="13" creationId="{3E9F9D91-1410-40E8-A6D3-CD4B4324336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7586583" sldId="382"/>
            <ac:spMk id="14" creationId="{1FB479B8-1035-4A20-9607-0DB5FE0E87F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7586583" sldId="382"/>
            <ac:spMk id="15" creationId="{7E1CA0F2-4BBD-4082-879E-A080AC22422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7586583" sldId="382"/>
            <ac:spMk id="16" creationId="{B7721355-475C-4964-BB9C-EB9F1A0DF91C}"/>
          </ac:spMkLst>
        </pc:spChg>
        <pc:spChg chg="add del mod">
          <ac:chgData name="Baciu Lupascu, Raluca" userId="68b8499e-70c7-46a5-a7f5-08d4a146f234" providerId="ADAL" clId="{D306BB26-EB9F-4E01-A290-0111A7EB9CD4}" dt="2022-03-09T14:32:27.654" v="3087" actId="478"/>
          <ac:spMkLst>
            <pc:docMk/>
            <pc:sldMk cId="1637586583" sldId="382"/>
            <ac:spMk id="18" creationId="{A347E761-0673-423E-AFC1-72BD9A5F50DA}"/>
          </ac:spMkLst>
        </pc:spChg>
        <pc:spChg chg="add mod">
          <ac:chgData name="Baciu Lupascu, Raluca" userId="68b8499e-70c7-46a5-a7f5-08d4a146f234" providerId="ADAL" clId="{D306BB26-EB9F-4E01-A290-0111A7EB9CD4}" dt="2022-03-09T14:32:28.704" v="3088"/>
          <ac:spMkLst>
            <pc:docMk/>
            <pc:sldMk cId="1637586583" sldId="382"/>
            <ac:spMk id="19" creationId="{ADE5101E-9B62-4FA4-9602-9AC954AA7552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2:48.080" v="3092" actId="478"/>
        <pc:sldMkLst>
          <pc:docMk/>
          <pc:sldMk cId="2705997042" sldId="383"/>
        </pc:sldMkLst>
        <pc:spChg chg="add del mod">
          <ac:chgData name="Baciu Lupascu, Raluca" userId="68b8499e-70c7-46a5-a7f5-08d4a146f234" providerId="ADAL" clId="{D306BB26-EB9F-4E01-A290-0111A7EB9CD4}" dt="2022-03-09T13:35:47.977" v="40" actId="6264"/>
          <ac:spMkLst>
            <pc:docMk/>
            <pc:sldMk cId="2705997042" sldId="383"/>
            <ac:spMk id="2" creationId="{CFCB5AFA-6247-4057-8D99-D023FDA36C76}"/>
          </ac:spMkLst>
        </pc:spChg>
        <pc:spChg chg="add del mod">
          <ac:chgData name="Baciu Lupascu, Raluca" userId="68b8499e-70c7-46a5-a7f5-08d4a146f234" providerId="ADAL" clId="{D306BB26-EB9F-4E01-A290-0111A7EB9CD4}" dt="2022-03-09T13:35:47.977" v="40" actId="6264"/>
          <ac:spMkLst>
            <pc:docMk/>
            <pc:sldMk cId="2705997042" sldId="383"/>
            <ac:spMk id="3" creationId="{B68B3B8A-7F7C-41EC-AE8A-7CEDD7C168C9}"/>
          </ac:spMkLst>
        </pc:spChg>
        <pc:spChg chg="del mod ord">
          <ac:chgData name="Baciu Lupascu, Raluca" userId="68b8499e-70c7-46a5-a7f5-08d4a146f234" providerId="ADAL" clId="{D306BB26-EB9F-4E01-A290-0111A7EB9CD4}" dt="2022-03-09T13:35:48.876" v="534"/>
          <ac:spMkLst>
            <pc:docMk/>
            <pc:sldMk cId="2705997042" sldId="383"/>
            <ac:spMk id="4" creationId="{7D5F4D7E-176A-418A-A50F-D1A60D36B92F}"/>
          </ac:spMkLst>
        </pc:spChg>
        <pc:spChg chg="del mod ord">
          <ac:chgData name="Baciu Lupascu, Raluca" userId="68b8499e-70c7-46a5-a7f5-08d4a146f234" providerId="ADAL" clId="{D306BB26-EB9F-4E01-A290-0111A7EB9CD4}" dt="2022-03-09T13:35:48.876" v="536"/>
          <ac:spMkLst>
            <pc:docMk/>
            <pc:sldMk cId="2705997042" sldId="383"/>
            <ac:spMk id="5" creationId="{942668E0-35AF-4A5A-9B18-EA65A8F03A74}"/>
          </ac:spMkLst>
        </pc:spChg>
        <pc:spChg chg="del mod ord">
          <ac:chgData name="Baciu Lupascu, Raluca" userId="68b8499e-70c7-46a5-a7f5-08d4a146f234" providerId="ADAL" clId="{D306BB26-EB9F-4E01-A290-0111A7EB9CD4}" dt="2022-03-09T13:35:48.876" v="535"/>
          <ac:spMkLst>
            <pc:docMk/>
            <pc:sldMk cId="2705997042" sldId="383"/>
            <ac:spMk id="6" creationId="{F120FF03-C198-49F4-9173-57537763B4B2}"/>
          </ac:spMkLst>
        </pc:spChg>
        <pc:spChg chg="add del mod">
          <ac:chgData name="Baciu Lupascu, Raluca" userId="68b8499e-70c7-46a5-a7f5-08d4a146f234" providerId="ADAL" clId="{D306BB26-EB9F-4E01-A290-0111A7EB9CD4}" dt="2022-03-09T13:35:47.977" v="40" actId="6264"/>
          <ac:spMkLst>
            <pc:docMk/>
            <pc:sldMk cId="2705997042" sldId="383"/>
            <ac:spMk id="7" creationId="{FF0883D8-7995-4933-B28D-A13D35F54417}"/>
          </ac:spMkLst>
        </pc:spChg>
        <pc:spChg chg="add del mod ord">
          <ac:chgData name="Baciu Lupascu, Raluca" userId="68b8499e-70c7-46a5-a7f5-08d4a146f234" providerId="ADAL" clId="{D306BB26-EB9F-4E01-A290-0111A7EB9CD4}" dt="2022-03-09T13:35:48.885" v="541"/>
          <ac:spMkLst>
            <pc:docMk/>
            <pc:sldMk cId="2705997042" sldId="383"/>
            <ac:spMk id="8" creationId="{0579D6A8-BDF5-4A26-AC9D-23CD56B52389}"/>
          </ac:spMkLst>
        </pc:spChg>
        <pc:spChg chg="add del mod ord">
          <ac:chgData name="Baciu Lupascu, Raluca" userId="68b8499e-70c7-46a5-a7f5-08d4a146f234" providerId="ADAL" clId="{D306BB26-EB9F-4E01-A290-0111A7EB9CD4}" dt="2022-03-09T13:35:48.885" v="541"/>
          <ac:spMkLst>
            <pc:docMk/>
            <pc:sldMk cId="2705997042" sldId="383"/>
            <ac:spMk id="10" creationId="{1CCB4662-7DED-4BA1-8AEE-9B387F79EC7E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705997042" sldId="383"/>
            <ac:spMk id="11" creationId="{CBE50FDB-7A99-4101-858F-EEAB63467D1B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705997042" sldId="383"/>
            <ac:spMk id="12" creationId="{092FB099-7FDD-4140-B3D8-78AF410D781B}"/>
          </ac:spMkLst>
        </pc:spChg>
        <pc:spChg chg="add del mod">
          <ac:chgData name="Baciu Lupascu, Raluca" userId="68b8499e-70c7-46a5-a7f5-08d4a146f234" providerId="ADAL" clId="{D306BB26-EB9F-4E01-A290-0111A7EB9CD4}" dt="2022-03-09T13:35:56.404" v="2052"/>
          <ac:spMkLst>
            <pc:docMk/>
            <pc:sldMk cId="2705997042" sldId="383"/>
            <ac:spMk id="13" creationId="{B3EE9730-7F84-4B6C-B3AE-8930255C458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705997042" sldId="383"/>
            <ac:spMk id="14" creationId="{0A3750C4-5C67-4CD9-BDE1-871B817654A4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705997042" sldId="383"/>
            <ac:spMk id="15" creationId="{FA05F62A-7704-4A69-AFB3-32E3DA2F5D7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705997042" sldId="383"/>
            <ac:spMk id="16" creationId="{5AA6A6DD-D3A2-438F-B5AE-F1C457EFDA1A}"/>
          </ac:spMkLst>
        </pc:spChg>
        <pc:spChg chg="add del mod ord">
          <ac:chgData name="Baciu Lupascu, Raluca" userId="68b8499e-70c7-46a5-a7f5-08d4a146f234" providerId="ADAL" clId="{D306BB26-EB9F-4E01-A290-0111A7EB9CD4}" dt="2022-03-09T14:32:45.929" v="3091" actId="478"/>
          <ac:spMkLst>
            <pc:docMk/>
            <pc:sldMk cId="2705997042" sldId="383"/>
            <ac:spMk id="17" creationId="{A72C4DF2-581F-43E2-B5B3-5DFA8C1C9152}"/>
          </ac:spMkLst>
        </pc:spChg>
        <pc:spChg chg="add del mod ord">
          <ac:chgData name="Baciu Lupascu, Raluca" userId="68b8499e-70c7-46a5-a7f5-08d4a146f234" providerId="ADAL" clId="{D306BB26-EB9F-4E01-A290-0111A7EB9CD4}" dt="2022-03-09T14:32:48.080" v="3092" actId="478"/>
          <ac:spMkLst>
            <pc:docMk/>
            <pc:sldMk cId="2705997042" sldId="383"/>
            <ac:spMk id="18" creationId="{90C4D5EA-D949-45E1-BA18-C423196FC5BD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4:12.835" v="3116" actId="12788"/>
        <pc:sldMkLst>
          <pc:docMk/>
          <pc:sldMk cId="2864331762" sldId="384"/>
        </pc:sldMkLst>
        <pc:spChg chg="del mod ord">
          <ac:chgData name="Baciu Lupascu, Raluca" userId="68b8499e-70c7-46a5-a7f5-08d4a146f234" providerId="ADAL" clId="{D306BB26-EB9F-4E01-A290-0111A7EB9CD4}" dt="2022-03-09T14:32:56.733" v="3094" actId="478"/>
          <ac:spMkLst>
            <pc:docMk/>
            <pc:sldMk cId="2864331762" sldId="384"/>
            <ac:spMk id="2" creationId="{DE4A4DA9-C7DD-4026-BD04-6CC7336CF8DF}"/>
          </ac:spMkLst>
        </pc:spChg>
        <pc:spChg chg="mod ord">
          <ac:chgData name="Baciu Lupascu, Raluca" userId="68b8499e-70c7-46a5-a7f5-08d4a146f234" providerId="ADAL" clId="{D306BB26-EB9F-4E01-A290-0111A7EB9CD4}" dt="2022-03-09T14:32:52.872" v="3093" actId="14100"/>
          <ac:spMkLst>
            <pc:docMk/>
            <pc:sldMk cId="2864331762" sldId="384"/>
            <ac:spMk id="3" creationId="{1D4E2970-1FDC-4306-B80F-75DD73D86FA8}"/>
          </ac:spMkLst>
        </pc:spChg>
        <pc:spChg chg="del mod ord">
          <ac:chgData name="Baciu Lupascu, Raluca" userId="68b8499e-70c7-46a5-a7f5-08d4a146f234" providerId="ADAL" clId="{D306BB26-EB9F-4E01-A290-0111A7EB9CD4}" dt="2022-03-09T13:35:48.886" v="545"/>
          <ac:spMkLst>
            <pc:docMk/>
            <pc:sldMk cId="2864331762" sldId="384"/>
            <ac:spMk id="4" creationId="{BD4E6440-1DFE-4EC0-B9BD-A4C433A61AD8}"/>
          </ac:spMkLst>
        </pc:spChg>
        <pc:spChg chg="del mod ord">
          <ac:chgData name="Baciu Lupascu, Raluca" userId="68b8499e-70c7-46a5-a7f5-08d4a146f234" providerId="ADAL" clId="{D306BB26-EB9F-4E01-A290-0111A7EB9CD4}" dt="2022-03-09T13:35:48.887" v="547"/>
          <ac:spMkLst>
            <pc:docMk/>
            <pc:sldMk cId="2864331762" sldId="384"/>
            <ac:spMk id="5" creationId="{AA642C8C-4DF9-44B2-9F09-5842055647C8}"/>
          </ac:spMkLst>
        </pc:spChg>
        <pc:spChg chg="del mod ord">
          <ac:chgData name="Baciu Lupascu, Raluca" userId="68b8499e-70c7-46a5-a7f5-08d4a146f234" providerId="ADAL" clId="{D306BB26-EB9F-4E01-A290-0111A7EB9CD4}" dt="2022-03-09T13:35:48.887" v="546"/>
          <ac:spMkLst>
            <pc:docMk/>
            <pc:sldMk cId="2864331762" sldId="384"/>
            <ac:spMk id="6" creationId="{D950885D-FA87-4D9D-981E-5332ACC38B61}"/>
          </ac:spMkLst>
        </pc:spChg>
        <pc:spChg chg="add del mod">
          <ac:chgData name="Baciu Lupascu, Raluca" userId="68b8499e-70c7-46a5-a7f5-08d4a146f234" providerId="ADAL" clId="{D306BB26-EB9F-4E01-A290-0111A7EB9CD4}" dt="2022-03-09T13:35:47.994" v="41" actId="6264"/>
          <ac:spMkLst>
            <pc:docMk/>
            <pc:sldMk cId="2864331762" sldId="384"/>
            <ac:spMk id="8" creationId="{925BD429-ED97-46D1-B603-D61D48B54E71}"/>
          </ac:spMkLst>
        </pc:spChg>
        <pc:spChg chg="add del mod">
          <ac:chgData name="Baciu Lupascu, Raluca" userId="68b8499e-70c7-46a5-a7f5-08d4a146f234" providerId="ADAL" clId="{D306BB26-EB9F-4E01-A290-0111A7EB9CD4}" dt="2022-03-09T13:35:47.994" v="41" actId="6264"/>
          <ac:spMkLst>
            <pc:docMk/>
            <pc:sldMk cId="2864331762" sldId="384"/>
            <ac:spMk id="9" creationId="{3FB68F48-5338-49C3-BEFC-B16541FB4888}"/>
          </ac:spMkLst>
        </pc:spChg>
        <pc:spChg chg="add del mod">
          <ac:chgData name="Baciu Lupascu, Raluca" userId="68b8499e-70c7-46a5-a7f5-08d4a146f234" providerId="ADAL" clId="{D306BB26-EB9F-4E01-A290-0111A7EB9CD4}" dt="2022-03-09T13:35:47.994" v="41" actId="6264"/>
          <ac:spMkLst>
            <pc:docMk/>
            <pc:sldMk cId="2864331762" sldId="384"/>
            <ac:spMk id="10" creationId="{EE1F6AC1-41DF-4C48-88BB-CEBD1D56DD4E}"/>
          </ac:spMkLst>
        </pc:spChg>
        <pc:spChg chg="add del mod">
          <ac:chgData name="Baciu Lupascu, Raluca" userId="68b8499e-70c7-46a5-a7f5-08d4a146f234" providerId="ADAL" clId="{D306BB26-EB9F-4E01-A290-0111A7EB9CD4}" dt="2022-03-09T13:35:47.994" v="41" actId="6264"/>
          <ac:spMkLst>
            <pc:docMk/>
            <pc:sldMk cId="2864331762" sldId="384"/>
            <ac:spMk id="11" creationId="{AFD94EBA-63BA-4272-8A98-9CC9546CDFAB}"/>
          </ac:spMkLst>
        </pc:spChg>
        <pc:spChg chg="add del mod">
          <ac:chgData name="Baciu Lupascu, Raluca" userId="68b8499e-70c7-46a5-a7f5-08d4a146f234" providerId="ADAL" clId="{D306BB26-EB9F-4E01-A290-0111A7EB9CD4}" dt="2022-03-09T13:35:47.994" v="41" actId="6264"/>
          <ac:spMkLst>
            <pc:docMk/>
            <pc:sldMk cId="2864331762" sldId="384"/>
            <ac:spMk id="12" creationId="{59417054-8AAC-481B-8E11-F70BF30B6FF9}"/>
          </ac:spMkLst>
        </pc:spChg>
        <pc:spChg chg="add del mod">
          <ac:chgData name="Baciu Lupascu, Raluca" userId="68b8499e-70c7-46a5-a7f5-08d4a146f234" providerId="ADAL" clId="{D306BB26-EB9F-4E01-A290-0111A7EB9CD4}" dt="2022-03-09T13:35:56.406" v="2057"/>
          <ac:spMkLst>
            <pc:docMk/>
            <pc:sldMk cId="2864331762" sldId="384"/>
            <ac:spMk id="13" creationId="{23D80BD0-4707-4BC8-9274-82A786126CC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864331762" sldId="384"/>
            <ac:spMk id="14" creationId="{7683CC77-B086-4FA3-AAD4-80B8969B6E81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864331762" sldId="384"/>
            <ac:spMk id="15" creationId="{C241A72D-EA7F-4602-8066-76F416C7FA3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864331762" sldId="384"/>
            <ac:spMk id="16" creationId="{217950A4-6DE5-4C96-9CC5-69F359517974}"/>
          </ac:spMkLst>
        </pc:spChg>
        <pc:spChg chg="add del mod">
          <ac:chgData name="Baciu Lupascu, Raluca" userId="68b8499e-70c7-46a5-a7f5-08d4a146f234" providerId="ADAL" clId="{D306BB26-EB9F-4E01-A290-0111A7EB9CD4}" dt="2022-03-09T14:32:58.731" v="3095" actId="478"/>
          <ac:spMkLst>
            <pc:docMk/>
            <pc:sldMk cId="2864331762" sldId="384"/>
            <ac:spMk id="18" creationId="{7ABEA717-62C9-4B94-90A6-2D5989AB5850}"/>
          </ac:spMkLst>
        </pc:spChg>
        <pc:spChg chg="add mod ord">
          <ac:chgData name="Baciu Lupascu, Raluca" userId="68b8499e-70c7-46a5-a7f5-08d4a146f234" providerId="ADAL" clId="{D306BB26-EB9F-4E01-A290-0111A7EB9CD4}" dt="2022-03-09T14:33:53.236" v="3111" actId="27636"/>
          <ac:spMkLst>
            <pc:docMk/>
            <pc:sldMk cId="2864331762" sldId="384"/>
            <ac:spMk id="19" creationId="{AE327521-2281-470F-AF7F-C9D3AE5C5CB9}"/>
          </ac:spMkLst>
        </pc:spChg>
        <pc:picChg chg="mod">
          <ac:chgData name="Baciu Lupascu, Raluca" userId="68b8499e-70c7-46a5-a7f5-08d4a146f234" providerId="ADAL" clId="{D306BB26-EB9F-4E01-A290-0111A7EB9CD4}" dt="2022-03-09T14:34:12.835" v="3116" actId="12788"/>
          <ac:picMkLst>
            <pc:docMk/>
            <pc:sldMk cId="2864331762" sldId="384"/>
            <ac:picMk id="7" creationId="{422A6F59-CBF5-4612-B105-1C78BB803840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5:49.317" v="3134" actId="947"/>
        <pc:sldMkLst>
          <pc:docMk/>
          <pc:sldMk cId="2204266640" sldId="385"/>
        </pc:sldMkLst>
        <pc:spChg chg="del mod ord">
          <ac:chgData name="Baciu Lupascu, Raluca" userId="68b8499e-70c7-46a5-a7f5-08d4a146f234" providerId="ADAL" clId="{D306BB26-EB9F-4E01-A290-0111A7EB9CD4}" dt="2022-03-09T14:34:32.164" v="3117" actId="478"/>
          <ac:spMkLst>
            <pc:docMk/>
            <pc:sldMk cId="2204266640" sldId="385"/>
            <ac:spMk id="2" creationId="{593BC11B-DD07-4797-B931-B700381DB815}"/>
          </ac:spMkLst>
        </pc:spChg>
        <pc:spChg chg="del mod ord">
          <ac:chgData name="Baciu Lupascu, Raluca" userId="68b8499e-70c7-46a5-a7f5-08d4a146f234" providerId="ADAL" clId="{D306BB26-EB9F-4E01-A290-0111A7EB9CD4}" dt="2022-03-09T14:34:35.387" v="3119" actId="478"/>
          <ac:spMkLst>
            <pc:docMk/>
            <pc:sldMk cId="2204266640" sldId="385"/>
            <ac:spMk id="3" creationId="{7F243234-5853-4CC3-9B54-A5FC9AD28C69}"/>
          </ac:spMkLst>
        </pc:spChg>
        <pc:spChg chg="del mod ord">
          <ac:chgData name="Baciu Lupascu, Raluca" userId="68b8499e-70c7-46a5-a7f5-08d4a146f234" providerId="ADAL" clId="{D306BB26-EB9F-4E01-A290-0111A7EB9CD4}" dt="2022-03-09T13:35:48.897" v="557"/>
          <ac:spMkLst>
            <pc:docMk/>
            <pc:sldMk cId="2204266640" sldId="385"/>
            <ac:spMk id="4" creationId="{FA706918-459F-4759-BE7D-57A7536FD266}"/>
          </ac:spMkLst>
        </pc:spChg>
        <pc:spChg chg="del mod ord">
          <ac:chgData name="Baciu Lupascu, Raluca" userId="68b8499e-70c7-46a5-a7f5-08d4a146f234" providerId="ADAL" clId="{D306BB26-EB9F-4E01-A290-0111A7EB9CD4}" dt="2022-03-09T13:35:48.897" v="559"/>
          <ac:spMkLst>
            <pc:docMk/>
            <pc:sldMk cId="2204266640" sldId="385"/>
            <ac:spMk id="5" creationId="{5F64E0B9-A0D4-46C2-9E7A-61678BBB68E8}"/>
          </ac:spMkLst>
        </pc:spChg>
        <pc:spChg chg="del mod ord">
          <ac:chgData name="Baciu Lupascu, Raluca" userId="68b8499e-70c7-46a5-a7f5-08d4a146f234" providerId="ADAL" clId="{D306BB26-EB9F-4E01-A290-0111A7EB9CD4}" dt="2022-03-09T13:35:48.897" v="558"/>
          <ac:spMkLst>
            <pc:docMk/>
            <pc:sldMk cId="2204266640" sldId="385"/>
            <ac:spMk id="6" creationId="{637B44F6-4B91-4D8B-959A-D9DC3D284D5A}"/>
          </ac:spMkLst>
        </pc:spChg>
        <pc:spChg chg="add del mod">
          <ac:chgData name="Baciu Lupascu, Raluca" userId="68b8499e-70c7-46a5-a7f5-08d4a146f234" providerId="ADAL" clId="{D306BB26-EB9F-4E01-A290-0111A7EB9CD4}" dt="2022-03-09T13:35:48.018" v="42" actId="6264"/>
          <ac:spMkLst>
            <pc:docMk/>
            <pc:sldMk cId="2204266640" sldId="385"/>
            <ac:spMk id="8" creationId="{3C4B5D38-EC92-490F-8F45-84F94FB32C5F}"/>
          </ac:spMkLst>
        </pc:spChg>
        <pc:spChg chg="add del mod">
          <ac:chgData name="Baciu Lupascu, Raluca" userId="68b8499e-70c7-46a5-a7f5-08d4a146f234" providerId="ADAL" clId="{D306BB26-EB9F-4E01-A290-0111A7EB9CD4}" dt="2022-03-09T13:35:48.018" v="42" actId="6264"/>
          <ac:spMkLst>
            <pc:docMk/>
            <pc:sldMk cId="2204266640" sldId="385"/>
            <ac:spMk id="9" creationId="{9D08A8D6-E12E-4EF4-A4DD-ED4BAD7D88F0}"/>
          </ac:spMkLst>
        </pc:spChg>
        <pc:spChg chg="add del mod">
          <ac:chgData name="Baciu Lupascu, Raluca" userId="68b8499e-70c7-46a5-a7f5-08d4a146f234" providerId="ADAL" clId="{D306BB26-EB9F-4E01-A290-0111A7EB9CD4}" dt="2022-03-09T13:35:48.018" v="42" actId="6264"/>
          <ac:spMkLst>
            <pc:docMk/>
            <pc:sldMk cId="2204266640" sldId="385"/>
            <ac:spMk id="10" creationId="{F30803DF-A034-41ED-BD8F-86F156557025}"/>
          </ac:spMkLst>
        </pc:spChg>
        <pc:spChg chg="add del mod">
          <ac:chgData name="Baciu Lupascu, Raluca" userId="68b8499e-70c7-46a5-a7f5-08d4a146f234" providerId="ADAL" clId="{D306BB26-EB9F-4E01-A290-0111A7EB9CD4}" dt="2022-03-09T13:35:48.018" v="42" actId="6264"/>
          <ac:spMkLst>
            <pc:docMk/>
            <pc:sldMk cId="2204266640" sldId="385"/>
            <ac:spMk id="11" creationId="{07A40042-D669-466A-8A63-39FA8B6ACA1E}"/>
          </ac:spMkLst>
        </pc:spChg>
        <pc:spChg chg="add del mod">
          <ac:chgData name="Baciu Lupascu, Raluca" userId="68b8499e-70c7-46a5-a7f5-08d4a146f234" providerId="ADAL" clId="{D306BB26-EB9F-4E01-A290-0111A7EB9CD4}" dt="2022-03-09T13:35:48.018" v="42" actId="6264"/>
          <ac:spMkLst>
            <pc:docMk/>
            <pc:sldMk cId="2204266640" sldId="385"/>
            <ac:spMk id="12" creationId="{6D0485DA-454B-479F-888B-3E4A677B4A7F}"/>
          </ac:spMkLst>
        </pc:spChg>
        <pc:spChg chg="add del mod">
          <ac:chgData name="Baciu Lupascu, Raluca" userId="68b8499e-70c7-46a5-a7f5-08d4a146f234" providerId="ADAL" clId="{D306BB26-EB9F-4E01-A290-0111A7EB9CD4}" dt="2022-03-09T13:35:56.408" v="2062"/>
          <ac:spMkLst>
            <pc:docMk/>
            <pc:sldMk cId="2204266640" sldId="385"/>
            <ac:spMk id="13" creationId="{DBD655B9-5B6D-477A-B071-EF0847364C7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04266640" sldId="385"/>
            <ac:spMk id="14" creationId="{CE2DB79E-B313-4FE2-9026-DA67A91E33A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04266640" sldId="385"/>
            <ac:spMk id="15" creationId="{F4053923-109D-4E51-82EB-F7EE2DFC56E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04266640" sldId="385"/>
            <ac:spMk id="16" creationId="{D6FDE2A5-7377-4302-AEE8-86507829E388}"/>
          </ac:spMkLst>
        </pc:spChg>
        <pc:spChg chg="add del mod">
          <ac:chgData name="Baciu Lupascu, Raluca" userId="68b8499e-70c7-46a5-a7f5-08d4a146f234" providerId="ADAL" clId="{D306BB26-EB9F-4E01-A290-0111A7EB9CD4}" dt="2022-03-09T14:34:33.182" v="3118" actId="478"/>
          <ac:spMkLst>
            <pc:docMk/>
            <pc:sldMk cId="2204266640" sldId="385"/>
            <ac:spMk id="18" creationId="{5DAA76A1-F0F9-45BB-B6C7-128E87C4348E}"/>
          </ac:spMkLst>
        </pc:spChg>
        <pc:spChg chg="add del mod">
          <ac:chgData name="Baciu Lupascu, Raluca" userId="68b8499e-70c7-46a5-a7f5-08d4a146f234" providerId="ADAL" clId="{D306BB26-EB9F-4E01-A290-0111A7EB9CD4}" dt="2022-03-09T14:34:37.562" v="3120" actId="478"/>
          <ac:spMkLst>
            <pc:docMk/>
            <pc:sldMk cId="2204266640" sldId="385"/>
            <ac:spMk id="20" creationId="{19D2920D-24BE-456F-BD04-6427E21CC93D}"/>
          </ac:spMkLst>
        </pc:spChg>
        <pc:spChg chg="add mod">
          <ac:chgData name="Baciu Lupascu, Raluca" userId="68b8499e-70c7-46a5-a7f5-08d4a146f234" providerId="ADAL" clId="{D306BB26-EB9F-4E01-A290-0111A7EB9CD4}" dt="2022-03-09T14:35:49.317" v="3134" actId="947"/>
          <ac:spMkLst>
            <pc:docMk/>
            <pc:sldMk cId="2204266640" sldId="385"/>
            <ac:spMk id="21" creationId="{6E9C3F1C-1B4C-4AF1-AAD3-1054081C73AB}"/>
          </ac:spMkLst>
        </pc:spChg>
        <pc:spChg chg="add mod">
          <ac:chgData name="Baciu Lupascu, Raluca" userId="68b8499e-70c7-46a5-a7f5-08d4a146f234" providerId="ADAL" clId="{D306BB26-EB9F-4E01-A290-0111A7EB9CD4}" dt="2022-03-09T14:34:45.671" v="3121"/>
          <ac:spMkLst>
            <pc:docMk/>
            <pc:sldMk cId="2204266640" sldId="385"/>
            <ac:spMk id="22" creationId="{A9D0C593-AEF6-46DB-9484-1C2DB853D11F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6:34.384" v="3214" actId="947"/>
        <pc:sldMkLst>
          <pc:docMk/>
          <pc:sldMk cId="1391369738" sldId="386"/>
        </pc:sldMkLst>
        <pc:spChg chg="del mod ord">
          <ac:chgData name="Baciu Lupascu, Raluca" userId="68b8499e-70c7-46a5-a7f5-08d4a146f234" providerId="ADAL" clId="{D306BB26-EB9F-4E01-A290-0111A7EB9CD4}" dt="2022-03-09T14:36:12" v="3136" actId="478"/>
          <ac:spMkLst>
            <pc:docMk/>
            <pc:sldMk cId="1391369738" sldId="386"/>
            <ac:spMk id="2" creationId="{24F8B581-0D19-4D9F-8BB9-5D76B4F05664}"/>
          </ac:spMkLst>
        </pc:spChg>
        <pc:spChg chg="mod ord">
          <ac:chgData name="Baciu Lupascu, Raluca" userId="68b8499e-70c7-46a5-a7f5-08d4a146f234" providerId="ADAL" clId="{D306BB26-EB9F-4E01-A290-0111A7EB9CD4}" dt="2022-03-09T14:36:07.829" v="3135" actId="14100"/>
          <ac:spMkLst>
            <pc:docMk/>
            <pc:sldMk cId="1391369738" sldId="386"/>
            <ac:spMk id="3" creationId="{CDD92D4E-A349-48B6-9309-ED2B120B66E2}"/>
          </ac:spMkLst>
        </pc:spChg>
        <pc:spChg chg="del mod ord">
          <ac:chgData name="Baciu Lupascu, Raluca" userId="68b8499e-70c7-46a5-a7f5-08d4a146f234" providerId="ADAL" clId="{D306BB26-EB9F-4E01-A290-0111A7EB9CD4}" dt="2022-03-09T13:35:48.914" v="569"/>
          <ac:spMkLst>
            <pc:docMk/>
            <pc:sldMk cId="1391369738" sldId="386"/>
            <ac:spMk id="4" creationId="{4EE80E74-752E-49D7-9861-A5F112DE6D74}"/>
          </ac:spMkLst>
        </pc:spChg>
        <pc:spChg chg="del mod ord">
          <ac:chgData name="Baciu Lupascu, Raluca" userId="68b8499e-70c7-46a5-a7f5-08d4a146f234" providerId="ADAL" clId="{D306BB26-EB9F-4E01-A290-0111A7EB9CD4}" dt="2022-03-09T13:35:48.914" v="571"/>
          <ac:spMkLst>
            <pc:docMk/>
            <pc:sldMk cId="1391369738" sldId="386"/>
            <ac:spMk id="5" creationId="{E18B22B1-B8E0-4627-8CDE-D320B443F093}"/>
          </ac:spMkLst>
        </pc:spChg>
        <pc:spChg chg="del mod ord">
          <ac:chgData name="Baciu Lupascu, Raluca" userId="68b8499e-70c7-46a5-a7f5-08d4a146f234" providerId="ADAL" clId="{D306BB26-EB9F-4E01-A290-0111A7EB9CD4}" dt="2022-03-09T13:35:48.914" v="570"/>
          <ac:spMkLst>
            <pc:docMk/>
            <pc:sldMk cId="1391369738" sldId="386"/>
            <ac:spMk id="6" creationId="{AA674273-5E31-41BF-8450-E8FE492BB0C3}"/>
          </ac:spMkLst>
        </pc:spChg>
        <pc:spChg chg="add del mod">
          <ac:chgData name="Baciu Lupascu, Raluca" userId="68b8499e-70c7-46a5-a7f5-08d4a146f234" providerId="ADAL" clId="{D306BB26-EB9F-4E01-A290-0111A7EB9CD4}" dt="2022-03-09T13:35:48.034" v="43" actId="6264"/>
          <ac:spMkLst>
            <pc:docMk/>
            <pc:sldMk cId="1391369738" sldId="386"/>
            <ac:spMk id="7" creationId="{5BD0D4BF-6EA1-4A3B-A3B0-D87C74A418CA}"/>
          </ac:spMkLst>
        </pc:spChg>
        <pc:spChg chg="add del mod">
          <ac:chgData name="Baciu Lupascu, Raluca" userId="68b8499e-70c7-46a5-a7f5-08d4a146f234" providerId="ADAL" clId="{D306BB26-EB9F-4E01-A290-0111A7EB9CD4}" dt="2022-03-09T13:35:48.034" v="43" actId="6264"/>
          <ac:spMkLst>
            <pc:docMk/>
            <pc:sldMk cId="1391369738" sldId="386"/>
            <ac:spMk id="8" creationId="{13ABBFDF-EA30-40EE-B676-3C81CF9D9EEC}"/>
          </ac:spMkLst>
        </pc:spChg>
        <pc:spChg chg="add del mod">
          <ac:chgData name="Baciu Lupascu, Raluca" userId="68b8499e-70c7-46a5-a7f5-08d4a146f234" providerId="ADAL" clId="{D306BB26-EB9F-4E01-A290-0111A7EB9CD4}" dt="2022-03-09T13:35:48.034" v="43" actId="6264"/>
          <ac:spMkLst>
            <pc:docMk/>
            <pc:sldMk cId="1391369738" sldId="386"/>
            <ac:spMk id="9" creationId="{1C3C8C53-7188-4F21-BA3A-FFF98975E8AA}"/>
          </ac:spMkLst>
        </pc:spChg>
        <pc:spChg chg="add del mod">
          <ac:chgData name="Baciu Lupascu, Raluca" userId="68b8499e-70c7-46a5-a7f5-08d4a146f234" providerId="ADAL" clId="{D306BB26-EB9F-4E01-A290-0111A7EB9CD4}" dt="2022-03-09T13:35:48.034" v="43" actId="6264"/>
          <ac:spMkLst>
            <pc:docMk/>
            <pc:sldMk cId="1391369738" sldId="386"/>
            <ac:spMk id="10" creationId="{6C7AE04A-7057-4661-A7EB-735E59693916}"/>
          </ac:spMkLst>
        </pc:spChg>
        <pc:spChg chg="add del mod">
          <ac:chgData name="Baciu Lupascu, Raluca" userId="68b8499e-70c7-46a5-a7f5-08d4a146f234" providerId="ADAL" clId="{D306BB26-EB9F-4E01-A290-0111A7EB9CD4}" dt="2022-03-09T13:35:48.034" v="43" actId="6264"/>
          <ac:spMkLst>
            <pc:docMk/>
            <pc:sldMk cId="1391369738" sldId="386"/>
            <ac:spMk id="11" creationId="{A518342E-6FFE-4ACA-9B7C-FD46FD2BEB2E}"/>
          </ac:spMkLst>
        </pc:spChg>
        <pc:spChg chg="add del mod">
          <ac:chgData name="Baciu Lupascu, Raluca" userId="68b8499e-70c7-46a5-a7f5-08d4a146f234" providerId="ADAL" clId="{D306BB26-EB9F-4E01-A290-0111A7EB9CD4}" dt="2022-03-09T13:35:56.410" v="2067"/>
          <ac:spMkLst>
            <pc:docMk/>
            <pc:sldMk cId="1391369738" sldId="386"/>
            <ac:spMk id="12" creationId="{07420C1A-F74B-484B-9455-9F9BA60D2D8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91369738" sldId="386"/>
            <ac:spMk id="13" creationId="{76563152-61F1-4818-A878-D51AD30F59D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91369738" sldId="386"/>
            <ac:spMk id="14" creationId="{A88F9C72-C118-4424-BEAE-7BD956FB768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91369738" sldId="386"/>
            <ac:spMk id="15" creationId="{9D51201C-4D1C-4B66-9AFA-4765E8CB84BF}"/>
          </ac:spMkLst>
        </pc:spChg>
        <pc:spChg chg="add del mod">
          <ac:chgData name="Baciu Lupascu, Raluca" userId="68b8499e-70c7-46a5-a7f5-08d4a146f234" providerId="ADAL" clId="{D306BB26-EB9F-4E01-A290-0111A7EB9CD4}" dt="2022-03-09T14:36:14.771" v="3137" actId="478"/>
          <ac:spMkLst>
            <pc:docMk/>
            <pc:sldMk cId="1391369738" sldId="386"/>
            <ac:spMk id="17" creationId="{FDB578CF-D8AF-47BD-99E2-72544AC23DB7}"/>
          </ac:spMkLst>
        </pc:spChg>
        <pc:spChg chg="add mod">
          <ac:chgData name="Baciu Lupascu, Raluca" userId="68b8499e-70c7-46a5-a7f5-08d4a146f234" providerId="ADAL" clId="{D306BB26-EB9F-4E01-A290-0111A7EB9CD4}" dt="2022-03-09T14:36:34.384" v="3214" actId="947"/>
          <ac:spMkLst>
            <pc:docMk/>
            <pc:sldMk cId="1391369738" sldId="386"/>
            <ac:spMk id="18" creationId="{33803A9F-A83C-4155-A38F-30B8DAA7A108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7:02.673" v="3232" actId="947"/>
        <pc:sldMkLst>
          <pc:docMk/>
          <pc:sldMk cId="1631270467" sldId="387"/>
        </pc:sldMkLst>
        <pc:spChg chg="del mod ord">
          <ac:chgData name="Baciu Lupascu, Raluca" userId="68b8499e-70c7-46a5-a7f5-08d4a146f234" providerId="ADAL" clId="{D306BB26-EB9F-4E01-A290-0111A7EB9CD4}" dt="2022-03-09T14:36:56.271" v="3218" actId="478"/>
          <ac:spMkLst>
            <pc:docMk/>
            <pc:sldMk cId="1631270467" sldId="387"/>
            <ac:spMk id="2" creationId="{DA939ECC-3443-4142-87A5-24EEB5DD09DE}"/>
          </ac:spMkLst>
        </pc:spChg>
        <pc:spChg chg="mod ord">
          <ac:chgData name="Baciu Lupascu, Raluca" userId="68b8499e-70c7-46a5-a7f5-08d4a146f234" providerId="ADAL" clId="{D306BB26-EB9F-4E01-A290-0111A7EB9CD4}" dt="2022-03-09T14:36:43.032" v="3217" actId="14100"/>
          <ac:spMkLst>
            <pc:docMk/>
            <pc:sldMk cId="1631270467" sldId="387"/>
            <ac:spMk id="3" creationId="{0C1561F8-BC8A-4ABC-ACE4-92DDD1E4BB9E}"/>
          </ac:spMkLst>
        </pc:spChg>
        <pc:spChg chg="del mod ord">
          <ac:chgData name="Baciu Lupascu, Raluca" userId="68b8499e-70c7-46a5-a7f5-08d4a146f234" providerId="ADAL" clId="{D306BB26-EB9F-4E01-A290-0111A7EB9CD4}" dt="2022-03-09T13:35:48.928" v="581"/>
          <ac:spMkLst>
            <pc:docMk/>
            <pc:sldMk cId="1631270467" sldId="387"/>
            <ac:spMk id="4" creationId="{18EAA431-4676-48D6-93D6-D929C4D072D6}"/>
          </ac:spMkLst>
        </pc:spChg>
        <pc:spChg chg="del mod ord">
          <ac:chgData name="Baciu Lupascu, Raluca" userId="68b8499e-70c7-46a5-a7f5-08d4a146f234" providerId="ADAL" clId="{D306BB26-EB9F-4E01-A290-0111A7EB9CD4}" dt="2022-03-09T13:35:48.928" v="583"/>
          <ac:spMkLst>
            <pc:docMk/>
            <pc:sldMk cId="1631270467" sldId="387"/>
            <ac:spMk id="5" creationId="{17F23865-BAB7-49A8-B34D-76537C71B9D2}"/>
          </ac:spMkLst>
        </pc:spChg>
        <pc:spChg chg="del mod ord">
          <ac:chgData name="Baciu Lupascu, Raluca" userId="68b8499e-70c7-46a5-a7f5-08d4a146f234" providerId="ADAL" clId="{D306BB26-EB9F-4E01-A290-0111A7EB9CD4}" dt="2022-03-09T13:35:48.928" v="582"/>
          <ac:spMkLst>
            <pc:docMk/>
            <pc:sldMk cId="1631270467" sldId="387"/>
            <ac:spMk id="6" creationId="{829532B7-660D-4C2E-91FF-0954A5002FFD}"/>
          </ac:spMkLst>
        </pc:spChg>
        <pc:spChg chg="add del mod">
          <ac:chgData name="Baciu Lupascu, Raluca" userId="68b8499e-70c7-46a5-a7f5-08d4a146f234" providerId="ADAL" clId="{D306BB26-EB9F-4E01-A290-0111A7EB9CD4}" dt="2022-03-09T13:35:48.055" v="44" actId="6264"/>
          <ac:spMkLst>
            <pc:docMk/>
            <pc:sldMk cId="1631270467" sldId="387"/>
            <ac:spMk id="7" creationId="{333F80F4-3DE5-4C5D-BFB2-351017061F96}"/>
          </ac:spMkLst>
        </pc:spChg>
        <pc:spChg chg="add del mod">
          <ac:chgData name="Baciu Lupascu, Raluca" userId="68b8499e-70c7-46a5-a7f5-08d4a146f234" providerId="ADAL" clId="{D306BB26-EB9F-4E01-A290-0111A7EB9CD4}" dt="2022-03-09T13:35:48.055" v="44" actId="6264"/>
          <ac:spMkLst>
            <pc:docMk/>
            <pc:sldMk cId="1631270467" sldId="387"/>
            <ac:spMk id="8" creationId="{A4175585-766D-46F4-8112-C259D2541858}"/>
          </ac:spMkLst>
        </pc:spChg>
        <pc:spChg chg="add del mod">
          <ac:chgData name="Baciu Lupascu, Raluca" userId="68b8499e-70c7-46a5-a7f5-08d4a146f234" providerId="ADAL" clId="{D306BB26-EB9F-4E01-A290-0111A7EB9CD4}" dt="2022-03-09T13:35:48.055" v="44" actId="6264"/>
          <ac:spMkLst>
            <pc:docMk/>
            <pc:sldMk cId="1631270467" sldId="387"/>
            <ac:spMk id="9" creationId="{6DB3D527-E773-4F27-8A51-B8AAA80ED02D}"/>
          </ac:spMkLst>
        </pc:spChg>
        <pc:spChg chg="add del mod">
          <ac:chgData name="Baciu Lupascu, Raluca" userId="68b8499e-70c7-46a5-a7f5-08d4a146f234" providerId="ADAL" clId="{D306BB26-EB9F-4E01-A290-0111A7EB9CD4}" dt="2022-03-09T13:35:48.055" v="44" actId="6264"/>
          <ac:spMkLst>
            <pc:docMk/>
            <pc:sldMk cId="1631270467" sldId="387"/>
            <ac:spMk id="10" creationId="{2890D2FA-EC91-45B7-8156-24076B33213C}"/>
          </ac:spMkLst>
        </pc:spChg>
        <pc:spChg chg="add del mod">
          <ac:chgData name="Baciu Lupascu, Raluca" userId="68b8499e-70c7-46a5-a7f5-08d4a146f234" providerId="ADAL" clId="{D306BB26-EB9F-4E01-A290-0111A7EB9CD4}" dt="2022-03-09T13:35:48.055" v="44" actId="6264"/>
          <ac:spMkLst>
            <pc:docMk/>
            <pc:sldMk cId="1631270467" sldId="387"/>
            <ac:spMk id="11" creationId="{7B5ECB48-BA1A-44EA-8047-9EF8C4AF1DA9}"/>
          </ac:spMkLst>
        </pc:spChg>
        <pc:spChg chg="add del mod">
          <ac:chgData name="Baciu Lupascu, Raluca" userId="68b8499e-70c7-46a5-a7f5-08d4a146f234" providerId="ADAL" clId="{D306BB26-EB9F-4E01-A290-0111A7EB9CD4}" dt="2022-03-09T13:35:56.411" v="2072"/>
          <ac:spMkLst>
            <pc:docMk/>
            <pc:sldMk cId="1631270467" sldId="387"/>
            <ac:spMk id="12" creationId="{3469627E-C2AC-4D13-829A-14BF5C4E348F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1270467" sldId="387"/>
            <ac:spMk id="13" creationId="{38BC2F42-64C0-4542-BC57-E47841C525E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1270467" sldId="387"/>
            <ac:spMk id="14" creationId="{03FC7530-953C-4AAD-BEA1-9FFC20FDDF1E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631270467" sldId="387"/>
            <ac:spMk id="15" creationId="{C2293C05-1241-4AEA-BD1E-6D99AB75F089}"/>
          </ac:spMkLst>
        </pc:spChg>
        <pc:spChg chg="add del mod">
          <ac:chgData name="Baciu Lupascu, Raluca" userId="68b8499e-70c7-46a5-a7f5-08d4a146f234" providerId="ADAL" clId="{D306BB26-EB9F-4E01-A290-0111A7EB9CD4}" dt="2022-03-09T14:36:57.573" v="3219" actId="478"/>
          <ac:spMkLst>
            <pc:docMk/>
            <pc:sldMk cId="1631270467" sldId="387"/>
            <ac:spMk id="17" creationId="{26A9542C-4273-4BF7-9D90-019BD44BDECB}"/>
          </ac:spMkLst>
        </pc:spChg>
        <pc:spChg chg="add mod">
          <ac:chgData name="Baciu Lupascu, Raluca" userId="68b8499e-70c7-46a5-a7f5-08d4a146f234" providerId="ADAL" clId="{D306BB26-EB9F-4E01-A290-0111A7EB9CD4}" dt="2022-03-09T14:37:02.673" v="3232" actId="947"/>
          <ac:spMkLst>
            <pc:docMk/>
            <pc:sldMk cId="1631270467" sldId="387"/>
            <ac:spMk id="18" creationId="{E385B6F8-4D73-419C-9D47-5C5437587649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8:05.338" v="3280" actId="947"/>
        <pc:sldMkLst>
          <pc:docMk/>
          <pc:sldMk cId="2230068904" sldId="388"/>
        </pc:sldMkLst>
        <pc:spChg chg="del mod ord">
          <ac:chgData name="Baciu Lupascu, Raluca" userId="68b8499e-70c7-46a5-a7f5-08d4a146f234" providerId="ADAL" clId="{D306BB26-EB9F-4E01-A290-0111A7EB9CD4}" dt="2022-03-09T14:37:32.959" v="3234" actId="478"/>
          <ac:spMkLst>
            <pc:docMk/>
            <pc:sldMk cId="2230068904" sldId="388"/>
            <ac:spMk id="2" creationId="{121E6EE3-44B9-486C-A14F-E8BCCC2D0918}"/>
          </ac:spMkLst>
        </pc:spChg>
        <pc:spChg chg="mod ord">
          <ac:chgData name="Baciu Lupascu, Raluca" userId="68b8499e-70c7-46a5-a7f5-08d4a146f234" providerId="ADAL" clId="{D306BB26-EB9F-4E01-A290-0111A7EB9CD4}" dt="2022-03-09T14:37:30.241" v="3233" actId="14100"/>
          <ac:spMkLst>
            <pc:docMk/>
            <pc:sldMk cId="2230068904" sldId="388"/>
            <ac:spMk id="3" creationId="{6DA81210-8500-4B87-823E-5624753593AA}"/>
          </ac:spMkLst>
        </pc:spChg>
        <pc:spChg chg="del mod ord">
          <ac:chgData name="Baciu Lupascu, Raluca" userId="68b8499e-70c7-46a5-a7f5-08d4a146f234" providerId="ADAL" clId="{D306BB26-EB9F-4E01-A290-0111A7EB9CD4}" dt="2022-03-09T13:35:48.944" v="593"/>
          <ac:spMkLst>
            <pc:docMk/>
            <pc:sldMk cId="2230068904" sldId="388"/>
            <ac:spMk id="4" creationId="{8F52985B-55E7-4F4D-A7D2-BC92F80A97AE}"/>
          </ac:spMkLst>
        </pc:spChg>
        <pc:spChg chg="del mod ord">
          <ac:chgData name="Baciu Lupascu, Raluca" userId="68b8499e-70c7-46a5-a7f5-08d4a146f234" providerId="ADAL" clId="{D306BB26-EB9F-4E01-A290-0111A7EB9CD4}" dt="2022-03-09T13:35:48.944" v="595"/>
          <ac:spMkLst>
            <pc:docMk/>
            <pc:sldMk cId="2230068904" sldId="388"/>
            <ac:spMk id="5" creationId="{57961F7C-E177-44AE-99CF-CBA5D37E807C}"/>
          </ac:spMkLst>
        </pc:spChg>
        <pc:spChg chg="del mod ord">
          <ac:chgData name="Baciu Lupascu, Raluca" userId="68b8499e-70c7-46a5-a7f5-08d4a146f234" providerId="ADAL" clId="{D306BB26-EB9F-4E01-A290-0111A7EB9CD4}" dt="2022-03-09T13:35:48.944" v="594"/>
          <ac:spMkLst>
            <pc:docMk/>
            <pc:sldMk cId="2230068904" sldId="388"/>
            <ac:spMk id="6" creationId="{9C8CAB72-25E4-44C1-B05F-58310357D62F}"/>
          </ac:spMkLst>
        </pc:spChg>
        <pc:spChg chg="add del mod">
          <ac:chgData name="Baciu Lupascu, Raluca" userId="68b8499e-70c7-46a5-a7f5-08d4a146f234" providerId="ADAL" clId="{D306BB26-EB9F-4E01-A290-0111A7EB9CD4}" dt="2022-03-09T13:35:48.073" v="45" actId="6264"/>
          <ac:spMkLst>
            <pc:docMk/>
            <pc:sldMk cId="2230068904" sldId="388"/>
            <ac:spMk id="7" creationId="{02244CEE-0EE9-4751-A0B5-01967B3D356D}"/>
          </ac:spMkLst>
        </pc:spChg>
        <pc:spChg chg="add del mod">
          <ac:chgData name="Baciu Lupascu, Raluca" userId="68b8499e-70c7-46a5-a7f5-08d4a146f234" providerId="ADAL" clId="{D306BB26-EB9F-4E01-A290-0111A7EB9CD4}" dt="2022-03-09T13:35:48.073" v="45" actId="6264"/>
          <ac:spMkLst>
            <pc:docMk/>
            <pc:sldMk cId="2230068904" sldId="388"/>
            <ac:spMk id="8" creationId="{99C08DB0-A950-4EA2-82FE-824D9BBE5D20}"/>
          </ac:spMkLst>
        </pc:spChg>
        <pc:spChg chg="add del mod">
          <ac:chgData name="Baciu Lupascu, Raluca" userId="68b8499e-70c7-46a5-a7f5-08d4a146f234" providerId="ADAL" clId="{D306BB26-EB9F-4E01-A290-0111A7EB9CD4}" dt="2022-03-09T13:35:48.073" v="45" actId="6264"/>
          <ac:spMkLst>
            <pc:docMk/>
            <pc:sldMk cId="2230068904" sldId="388"/>
            <ac:spMk id="9" creationId="{EC328B90-5F3B-4BC9-98AA-085BB7BB502B}"/>
          </ac:spMkLst>
        </pc:spChg>
        <pc:spChg chg="add del mod">
          <ac:chgData name="Baciu Lupascu, Raluca" userId="68b8499e-70c7-46a5-a7f5-08d4a146f234" providerId="ADAL" clId="{D306BB26-EB9F-4E01-A290-0111A7EB9CD4}" dt="2022-03-09T13:35:48.073" v="45" actId="6264"/>
          <ac:spMkLst>
            <pc:docMk/>
            <pc:sldMk cId="2230068904" sldId="388"/>
            <ac:spMk id="10" creationId="{D1DD5DB9-6F73-4D53-89D8-FB535250DEB0}"/>
          </ac:spMkLst>
        </pc:spChg>
        <pc:spChg chg="add del mod">
          <ac:chgData name="Baciu Lupascu, Raluca" userId="68b8499e-70c7-46a5-a7f5-08d4a146f234" providerId="ADAL" clId="{D306BB26-EB9F-4E01-A290-0111A7EB9CD4}" dt="2022-03-09T13:35:48.073" v="45" actId="6264"/>
          <ac:spMkLst>
            <pc:docMk/>
            <pc:sldMk cId="2230068904" sldId="388"/>
            <ac:spMk id="11" creationId="{481B401E-5667-4E05-96EA-FC529099B687}"/>
          </ac:spMkLst>
        </pc:spChg>
        <pc:spChg chg="add del mod">
          <ac:chgData name="Baciu Lupascu, Raluca" userId="68b8499e-70c7-46a5-a7f5-08d4a146f234" providerId="ADAL" clId="{D306BB26-EB9F-4E01-A290-0111A7EB9CD4}" dt="2022-03-09T13:35:56.413" v="2077"/>
          <ac:spMkLst>
            <pc:docMk/>
            <pc:sldMk cId="2230068904" sldId="388"/>
            <ac:spMk id="12" creationId="{BDDBBC26-0F93-496E-958D-037A1D8B661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30068904" sldId="388"/>
            <ac:spMk id="13" creationId="{91FB52A4-4B3A-4AF3-BBC0-5B1F49FE2E1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30068904" sldId="388"/>
            <ac:spMk id="14" creationId="{D13A81D6-FC25-47E6-83CB-FD128EBA1AF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230068904" sldId="388"/>
            <ac:spMk id="15" creationId="{9BAE824E-D832-465F-8E8E-40918741A6A8}"/>
          </ac:spMkLst>
        </pc:spChg>
        <pc:spChg chg="add del mod">
          <ac:chgData name="Baciu Lupascu, Raluca" userId="68b8499e-70c7-46a5-a7f5-08d4a146f234" providerId="ADAL" clId="{D306BB26-EB9F-4E01-A290-0111A7EB9CD4}" dt="2022-03-09T14:37:35.521" v="3235" actId="478"/>
          <ac:spMkLst>
            <pc:docMk/>
            <pc:sldMk cId="2230068904" sldId="388"/>
            <ac:spMk id="17" creationId="{16FD3BA2-751E-4E56-A4CB-96577707BC85}"/>
          </ac:spMkLst>
        </pc:spChg>
        <pc:spChg chg="add mod">
          <ac:chgData name="Baciu Lupascu, Raluca" userId="68b8499e-70c7-46a5-a7f5-08d4a146f234" providerId="ADAL" clId="{D306BB26-EB9F-4E01-A290-0111A7EB9CD4}" dt="2022-03-09T14:38:05.338" v="3280" actId="947"/>
          <ac:spMkLst>
            <pc:docMk/>
            <pc:sldMk cId="2230068904" sldId="388"/>
            <ac:spMk id="18" creationId="{31016E2B-48BC-46D7-B803-BF28A32EB537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38:38.621" v="3290" actId="947"/>
        <pc:sldMkLst>
          <pc:docMk/>
          <pc:sldMk cId="3956828881" sldId="389"/>
        </pc:sldMkLst>
        <pc:spChg chg="del mod ord">
          <ac:chgData name="Baciu Lupascu, Raluca" userId="68b8499e-70c7-46a5-a7f5-08d4a146f234" providerId="ADAL" clId="{D306BB26-EB9F-4E01-A290-0111A7EB9CD4}" dt="2022-03-09T14:38:23.970" v="3282" actId="478"/>
          <ac:spMkLst>
            <pc:docMk/>
            <pc:sldMk cId="3956828881" sldId="389"/>
            <ac:spMk id="2" creationId="{2C8EFB1E-39F3-4303-A709-D6E6CE6ABFAC}"/>
          </ac:spMkLst>
        </pc:spChg>
        <pc:spChg chg="mod ord">
          <ac:chgData name="Baciu Lupascu, Raluca" userId="68b8499e-70c7-46a5-a7f5-08d4a146f234" providerId="ADAL" clId="{D306BB26-EB9F-4E01-A290-0111A7EB9CD4}" dt="2022-03-09T14:38:21.306" v="3281" actId="14100"/>
          <ac:spMkLst>
            <pc:docMk/>
            <pc:sldMk cId="3956828881" sldId="389"/>
            <ac:spMk id="3" creationId="{CCDA4857-85EC-4404-865C-3CC1EB17C016}"/>
          </ac:spMkLst>
        </pc:spChg>
        <pc:spChg chg="del mod ord">
          <ac:chgData name="Baciu Lupascu, Raluca" userId="68b8499e-70c7-46a5-a7f5-08d4a146f234" providerId="ADAL" clId="{D306BB26-EB9F-4E01-A290-0111A7EB9CD4}" dt="2022-03-09T13:35:48.959" v="605"/>
          <ac:spMkLst>
            <pc:docMk/>
            <pc:sldMk cId="3956828881" sldId="389"/>
            <ac:spMk id="4" creationId="{AF0BCB29-2060-4D61-9207-30225A1B1A98}"/>
          </ac:spMkLst>
        </pc:spChg>
        <pc:spChg chg="del mod ord">
          <ac:chgData name="Baciu Lupascu, Raluca" userId="68b8499e-70c7-46a5-a7f5-08d4a146f234" providerId="ADAL" clId="{D306BB26-EB9F-4E01-A290-0111A7EB9CD4}" dt="2022-03-09T13:35:48.959" v="607"/>
          <ac:spMkLst>
            <pc:docMk/>
            <pc:sldMk cId="3956828881" sldId="389"/>
            <ac:spMk id="5" creationId="{4D042B51-851E-419D-9FF4-C4B6DE1988BE}"/>
          </ac:spMkLst>
        </pc:spChg>
        <pc:spChg chg="del mod ord">
          <ac:chgData name="Baciu Lupascu, Raluca" userId="68b8499e-70c7-46a5-a7f5-08d4a146f234" providerId="ADAL" clId="{D306BB26-EB9F-4E01-A290-0111A7EB9CD4}" dt="2022-03-09T13:35:48.959" v="606"/>
          <ac:spMkLst>
            <pc:docMk/>
            <pc:sldMk cId="3956828881" sldId="389"/>
            <ac:spMk id="6" creationId="{527283BA-32CE-4C2F-9740-14C1CEFF1D20}"/>
          </ac:spMkLst>
        </pc:spChg>
        <pc:spChg chg="add del mod">
          <ac:chgData name="Baciu Lupascu, Raluca" userId="68b8499e-70c7-46a5-a7f5-08d4a146f234" providerId="ADAL" clId="{D306BB26-EB9F-4E01-A290-0111A7EB9CD4}" dt="2022-03-09T13:35:48.094" v="46" actId="6264"/>
          <ac:spMkLst>
            <pc:docMk/>
            <pc:sldMk cId="3956828881" sldId="389"/>
            <ac:spMk id="7" creationId="{2950F7CD-0949-4BEF-BDC3-0E97050A4AC4}"/>
          </ac:spMkLst>
        </pc:spChg>
        <pc:spChg chg="add del mod">
          <ac:chgData name="Baciu Lupascu, Raluca" userId="68b8499e-70c7-46a5-a7f5-08d4a146f234" providerId="ADAL" clId="{D306BB26-EB9F-4E01-A290-0111A7EB9CD4}" dt="2022-03-09T13:35:48.094" v="46" actId="6264"/>
          <ac:spMkLst>
            <pc:docMk/>
            <pc:sldMk cId="3956828881" sldId="389"/>
            <ac:spMk id="8" creationId="{EE6924E5-77B5-448D-A0B3-3502682BBD7A}"/>
          </ac:spMkLst>
        </pc:spChg>
        <pc:spChg chg="add del mod">
          <ac:chgData name="Baciu Lupascu, Raluca" userId="68b8499e-70c7-46a5-a7f5-08d4a146f234" providerId="ADAL" clId="{D306BB26-EB9F-4E01-A290-0111A7EB9CD4}" dt="2022-03-09T13:35:48.094" v="46" actId="6264"/>
          <ac:spMkLst>
            <pc:docMk/>
            <pc:sldMk cId="3956828881" sldId="389"/>
            <ac:spMk id="9" creationId="{30557C07-C30B-4F21-B59F-2FE430028F47}"/>
          </ac:spMkLst>
        </pc:spChg>
        <pc:spChg chg="add del mod">
          <ac:chgData name="Baciu Lupascu, Raluca" userId="68b8499e-70c7-46a5-a7f5-08d4a146f234" providerId="ADAL" clId="{D306BB26-EB9F-4E01-A290-0111A7EB9CD4}" dt="2022-03-09T13:35:48.094" v="46" actId="6264"/>
          <ac:spMkLst>
            <pc:docMk/>
            <pc:sldMk cId="3956828881" sldId="389"/>
            <ac:spMk id="10" creationId="{40FA5F2F-AA28-4DE3-B1BC-3F278C551F4C}"/>
          </ac:spMkLst>
        </pc:spChg>
        <pc:spChg chg="add del mod">
          <ac:chgData name="Baciu Lupascu, Raluca" userId="68b8499e-70c7-46a5-a7f5-08d4a146f234" providerId="ADAL" clId="{D306BB26-EB9F-4E01-A290-0111A7EB9CD4}" dt="2022-03-09T13:35:48.094" v="46" actId="6264"/>
          <ac:spMkLst>
            <pc:docMk/>
            <pc:sldMk cId="3956828881" sldId="389"/>
            <ac:spMk id="11" creationId="{29FE873A-13F7-4FB6-8B25-6EC04E1EE3BE}"/>
          </ac:spMkLst>
        </pc:spChg>
        <pc:spChg chg="add del mod">
          <ac:chgData name="Baciu Lupascu, Raluca" userId="68b8499e-70c7-46a5-a7f5-08d4a146f234" providerId="ADAL" clId="{D306BB26-EB9F-4E01-A290-0111A7EB9CD4}" dt="2022-03-09T13:35:56.415" v="2082"/>
          <ac:spMkLst>
            <pc:docMk/>
            <pc:sldMk cId="3956828881" sldId="389"/>
            <ac:spMk id="12" creationId="{52DE4455-2FE9-4F19-9634-5EBA8F9825A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956828881" sldId="389"/>
            <ac:spMk id="13" creationId="{C97E9559-53C7-436A-BBE2-15D85F31137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956828881" sldId="389"/>
            <ac:spMk id="14" creationId="{3061C61C-FB13-4FB2-B5CA-7C7CFED3337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956828881" sldId="389"/>
            <ac:spMk id="15" creationId="{10B3CE24-24FE-4527-A0C9-DC20BC2DA9AF}"/>
          </ac:spMkLst>
        </pc:spChg>
        <pc:spChg chg="add del mod">
          <ac:chgData name="Baciu Lupascu, Raluca" userId="68b8499e-70c7-46a5-a7f5-08d4a146f234" providerId="ADAL" clId="{D306BB26-EB9F-4E01-A290-0111A7EB9CD4}" dt="2022-03-09T14:38:24.720" v="3283" actId="478"/>
          <ac:spMkLst>
            <pc:docMk/>
            <pc:sldMk cId="3956828881" sldId="389"/>
            <ac:spMk id="17" creationId="{6B1518C5-D693-4349-940E-ECAA2101DB6B}"/>
          </ac:spMkLst>
        </pc:spChg>
        <pc:spChg chg="add mod">
          <ac:chgData name="Baciu Lupascu, Raluca" userId="68b8499e-70c7-46a5-a7f5-08d4a146f234" providerId="ADAL" clId="{D306BB26-EB9F-4E01-A290-0111A7EB9CD4}" dt="2022-03-09T14:38:38.621" v="3290" actId="947"/>
          <ac:spMkLst>
            <pc:docMk/>
            <pc:sldMk cId="3956828881" sldId="389"/>
            <ac:spMk id="18" creationId="{CC68B251-4F61-43A7-8EEE-9988E0EB1287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44:13.676" v="3326" actId="207"/>
        <pc:sldMkLst>
          <pc:docMk/>
          <pc:sldMk cId="1460182461" sldId="391"/>
        </pc:sldMkLst>
        <pc:spChg chg="del mod ord">
          <ac:chgData name="Baciu Lupascu, Raluca" userId="68b8499e-70c7-46a5-a7f5-08d4a146f234" providerId="ADAL" clId="{D306BB26-EB9F-4E01-A290-0111A7EB9CD4}" dt="2022-03-09T14:38:48.752" v="3292" actId="478"/>
          <ac:spMkLst>
            <pc:docMk/>
            <pc:sldMk cId="1460182461" sldId="391"/>
            <ac:spMk id="2" creationId="{7BBB34DB-1D37-4D88-A25C-5D42E33EFD7E}"/>
          </ac:spMkLst>
        </pc:spChg>
        <pc:spChg chg="mod ord">
          <ac:chgData name="Baciu Lupascu, Raluca" userId="68b8499e-70c7-46a5-a7f5-08d4a146f234" providerId="ADAL" clId="{D306BB26-EB9F-4E01-A290-0111A7EB9CD4}" dt="2022-03-09T14:38:46.375" v="3291" actId="14100"/>
          <ac:spMkLst>
            <pc:docMk/>
            <pc:sldMk cId="1460182461" sldId="391"/>
            <ac:spMk id="3" creationId="{B3F3FFCB-0A0F-45FE-8BDC-C2F018C57221}"/>
          </ac:spMkLst>
        </pc:spChg>
        <pc:spChg chg="del mod ord">
          <ac:chgData name="Baciu Lupascu, Raluca" userId="68b8499e-70c7-46a5-a7f5-08d4a146f234" providerId="ADAL" clId="{D306BB26-EB9F-4E01-A290-0111A7EB9CD4}" dt="2022-03-09T13:35:48.974" v="617"/>
          <ac:spMkLst>
            <pc:docMk/>
            <pc:sldMk cId="1460182461" sldId="391"/>
            <ac:spMk id="4" creationId="{A030471F-A41A-4135-8BBB-3A98A7BB0EDA}"/>
          </ac:spMkLst>
        </pc:spChg>
        <pc:spChg chg="del mod ord">
          <ac:chgData name="Baciu Lupascu, Raluca" userId="68b8499e-70c7-46a5-a7f5-08d4a146f234" providerId="ADAL" clId="{D306BB26-EB9F-4E01-A290-0111A7EB9CD4}" dt="2022-03-09T13:35:48.974" v="619"/>
          <ac:spMkLst>
            <pc:docMk/>
            <pc:sldMk cId="1460182461" sldId="391"/>
            <ac:spMk id="5" creationId="{8CED070C-DA10-4072-A433-D1F1F6CB5763}"/>
          </ac:spMkLst>
        </pc:spChg>
        <pc:spChg chg="del mod ord">
          <ac:chgData name="Baciu Lupascu, Raluca" userId="68b8499e-70c7-46a5-a7f5-08d4a146f234" providerId="ADAL" clId="{D306BB26-EB9F-4E01-A290-0111A7EB9CD4}" dt="2022-03-09T13:35:48.974" v="618"/>
          <ac:spMkLst>
            <pc:docMk/>
            <pc:sldMk cId="1460182461" sldId="391"/>
            <ac:spMk id="6" creationId="{8949FF7F-1CFB-4628-92E8-202E2A30402A}"/>
          </ac:spMkLst>
        </pc:spChg>
        <pc:spChg chg="add del mod">
          <ac:chgData name="Baciu Lupascu, Raluca" userId="68b8499e-70c7-46a5-a7f5-08d4a146f234" providerId="ADAL" clId="{D306BB26-EB9F-4E01-A290-0111A7EB9CD4}" dt="2022-03-09T13:35:48.110" v="47" actId="6264"/>
          <ac:spMkLst>
            <pc:docMk/>
            <pc:sldMk cId="1460182461" sldId="391"/>
            <ac:spMk id="8" creationId="{F9E86496-941E-4F52-B860-BAC836F950EF}"/>
          </ac:spMkLst>
        </pc:spChg>
        <pc:spChg chg="add del mod">
          <ac:chgData name="Baciu Lupascu, Raluca" userId="68b8499e-70c7-46a5-a7f5-08d4a146f234" providerId="ADAL" clId="{D306BB26-EB9F-4E01-A290-0111A7EB9CD4}" dt="2022-03-09T13:35:48.110" v="47" actId="6264"/>
          <ac:spMkLst>
            <pc:docMk/>
            <pc:sldMk cId="1460182461" sldId="391"/>
            <ac:spMk id="9" creationId="{43392C4E-DD24-4622-9FB4-2D6DEF33D930}"/>
          </ac:spMkLst>
        </pc:spChg>
        <pc:spChg chg="add del mod">
          <ac:chgData name="Baciu Lupascu, Raluca" userId="68b8499e-70c7-46a5-a7f5-08d4a146f234" providerId="ADAL" clId="{D306BB26-EB9F-4E01-A290-0111A7EB9CD4}" dt="2022-03-09T13:35:48.110" v="47" actId="6264"/>
          <ac:spMkLst>
            <pc:docMk/>
            <pc:sldMk cId="1460182461" sldId="391"/>
            <ac:spMk id="10" creationId="{E60AF820-AAA3-42E9-83DA-76EDFE24B9BD}"/>
          </ac:spMkLst>
        </pc:spChg>
        <pc:spChg chg="add del mod">
          <ac:chgData name="Baciu Lupascu, Raluca" userId="68b8499e-70c7-46a5-a7f5-08d4a146f234" providerId="ADAL" clId="{D306BB26-EB9F-4E01-A290-0111A7EB9CD4}" dt="2022-03-09T13:35:48.110" v="47" actId="6264"/>
          <ac:spMkLst>
            <pc:docMk/>
            <pc:sldMk cId="1460182461" sldId="391"/>
            <ac:spMk id="11" creationId="{1D5CC430-AFF8-45C2-9B5F-8FA6133EEEC6}"/>
          </ac:spMkLst>
        </pc:spChg>
        <pc:spChg chg="add del mod">
          <ac:chgData name="Baciu Lupascu, Raluca" userId="68b8499e-70c7-46a5-a7f5-08d4a146f234" providerId="ADAL" clId="{D306BB26-EB9F-4E01-A290-0111A7EB9CD4}" dt="2022-03-09T13:35:48.110" v="47" actId="6264"/>
          <ac:spMkLst>
            <pc:docMk/>
            <pc:sldMk cId="1460182461" sldId="391"/>
            <ac:spMk id="12" creationId="{006A9207-90AD-4D44-99A4-E859620BE831}"/>
          </ac:spMkLst>
        </pc:spChg>
        <pc:spChg chg="add del mod">
          <ac:chgData name="Baciu Lupascu, Raluca" userId="68b8499e-70c7-46a5-a7f5-08d4a146f234" providerId="ADAL" clId="{D306BB26-EB9F-4E01-A290-0111A7EB9CD4}" dt="2022-03-09T13:35:56.417" v="2087"/>
          <ac:spMkLst>
            <pc:docMk/>
            <pc:sldMk cId="1460182461" sldId="391"/>
            <ac:spMk id="13" creationId="{C4FC15B7-E932-44D1-901C-E5444F3EC68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60182461" sldId="391"/>
            <ac:spMk id="14" creationId="{879DF581-5FC8-4C4E-8D93-8681BE23C74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60182461" sldId="391"/>
            <ac:spMk id="15" creationId="{34201961-304E-4006-A730-317F6D6EACD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460182461" sldId="391"/>
            <ac:spMk id="16" creationId="{9E0437DC-3C39-448A-B8B2-04FDD72324CE}"/>
          </ac:spMkLst>
        </pc:spChg>
        <pc:spChg chg="add del mod">
          <ac:chgData name="Baciu Lupascu, Raluca" userId="68b8499e-70c7-46a5-a7f5-08d4a146f234" providerId="ADAL" clId="{D306BB26-EB9F-4E01-A290-0111A7EB9CD4}" dt="2022-03-09T14:38:49.685" v="3293" actId="478"/>
          <ac:spMkLst>
            <pc:docMk/>
            <pc:sldMk cId="1460182461" sldId="391"/>
            <ac:spMk id="18" creationId="{60423515-3E29-48BC-8343-071B6FCD3EC4}"/>
          </ac:spMkLst>
        </pc:spChg>
        <pc:spChg chg="add mod">
          <ac:chgData name="Baciu Lupascu, Raluca" userId="68b8499e-70c7-46a5-a7f5-08d4a146f234" providerId="ADAL" clId="{D306BB26-EB9F-4E01-A290-0111A7EB9CD4}" dt="2022-03-09T14:44:13.676" v="3326" actId="207"/>
          <ac:spMkLst>
            <pc:docMk/>
            <pc:sldMk cId="1460182461" sldId="391"/>
            <ac:spMk id="19" creationId="{DB18F9F7-02E4-484B-8A9A-7561F1A55178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01:45.239" v="2568" actId="20577"/>
        <pc:sldMkLst>
          <pc:docMk/>
          <pc:sldMk cId="476902243" sldId="392"/>
        </pc:sldMkLst>
        <pc:spChg chg="mod ord">
          <ac:chgData name="Baciu Lupascu, Raluca" userId="68b8499e-70c7-46a5-a7f5-08d4a146f234" providerId="ADAL" clId="{D306BB26-EB9F-4E01-A290-0111A7EB9CD4}" dt="2022-03-09T14:01:45.239" v="2568" actId="20577"/>
          <ac:spMkLst>
            <pc:docMk/>
            <pc:sldMk cId="476902243" sldId="392"/>
            <ac:spMk id="2" creationId="{E6742C5C-DE33-4D0B-B541-77CF18F132FB}"/>
          </ac:spMkLst>
        </pc:spChg>
        <pc:spChg chg="mod ord">
          <ac:chgData name="Baciu Lupascu, Raluca" userId="68b8499e-70c7-46a5-a7f5-08d4a146f234" providerId="ADAL" clId="{D306BB26-EB9F-4E01-A290-0111A7EB9CD4}" dt="2022-03-09T13:57:19.912" v="2530" actId="14100"/>
          <ac:spMkLst>
            <pc:docMk/>
            <pc:sldMk cId="476902243" sldId="392"/>
            <ac:spMk id="3" creationId="{9687E586-138E-49F7-B7A8-960DFE7A79C6}"/>
          </ac:spMkLst>
        </pc:spChg>
        <pc:spChg chg="del mod ord">
          <ac:chgData name="Baciu Lupascu, Raluca" userId="68b8499e-70c7-46a5-a7f5-08d4a146f234" providerId="ADAL" clId="{D306BB26-EB9F-4E01-A290-0111A7EB9CD4}" dt="2022-03-09T13:35:48.332" v="103"/>
          <ac:spMkLst>
            <pc:docMk/>
            <pc:sldMk cId="476902243" sldId="392"/>
            <ac:spMk id="4" creationId="{8576616C-EA25-490E-8894-96EF7B4BD810}"/>
          </ac:spMkLst>
        </pc:spChg>
        <pc:spChg chg="del mod ord">
          <ac:chgData name="Baciu Lupascu, Raluca" userId="68b8499e-70c7-46a5-a7f5-08d4a146f234" providerId="ADAL" clId="{D306BB26-EB9F-4E01-A290-0111A7EB9CD4}" dt="2022-03-09T13:35:48.333" v="105"/>
          <ac:spMkLst>
            <pc:docMk/>
            <pc:sldMk cId="476902243" sldId="392"/>
            <ac:spMk id="5" creationId="{A8A9CDE3-CD2B-4942-868A-BCA6E6D4E9B1}"/>
          </ac:spMkLst>
        </pc:spChg>
        <pc:spChg chg="del mod ord">
          <ac:chgData name="Baciu Lupascu, Raluca" userId="68b8499e-70c7-46a5-a7f5-08d4a146f234" providerId="ADAL" clId="{D306BB26-EB9F-4E01-A290-0111A7EB9CD4}" dt="2022-03-09T13:35:48.333" v="104"/>
          <ac:spMkLst>
            <pc:docMk/>
            <pc:sldMk cId="476902243" sldId="392"/>
            <ac:spMk id="6" creationId="{72C1EF4F-9189-4F05-94E9-4C7F369799E2}"/>
          </ac:spMkLst>
        </pc:spChg>
        <pc:spChg chg="add del mod">
          <ac:chgData name="Baciu Lupascu, Raluca" userId="68b8499e-70c7-46a5-a7f5-08d4a146f234" providerId="ADAL" clId="{D306BB26-EB9F-4E01-A290-0111A7EB9CD4}" dt="2022-03-09T13:35:47.279" v="3" actId="6264"/>
          <ac:spMkLst>
            <pc:docMk/>
            <pc:sldMk cId="476902243" sldId="392"/>
            <ac:spMk id="7" creationId="{FC6A081B-875D-4020-9F26-88525857A073}"/>
          </ac:spMkLst>
        </pc:spChg>
        <pc:spChg chg="add del mod">
          <ac:chgData name="Baciu Lupascu, Raluca" userId="68b8499e-70c7-46a5-a7f5-08d4a146f234" providerId="ADAL" clId="{D306BB26-EB9F-4E01-A290-0111A7EB9CD4}" dt="2022-03-09T13:35:47.279" v="3" actId="6264"/>
          <ac:spMkLst>
            <pc:docMk/>
            <pc:sldMk cId="476902243" sldId="392"/>
            <ac:spMk id="8" creationId="{ECB28CD2-BCDF-47FF-A339-77E97135E098}"/>
          </ac:spMkLst>
        </pc:spChg>
        <pc:spChg chg="add del mod">
          <ac:chgData name="Baciu Lupascu, Raluca" userId="68b8499e-70c7-46a5-a7f5-08d4a146f234" providerId="ADAL" clId="{D306BB26-EB9F-4E01-A290-0111A7EB9CD4}" dt="2022-03-09T13:35:47.279" v="3" actId="6264"/>
          <ac:spMkLst>
            <pc:docMk/>
            <pc:sldMk cId="476902243" sldId="392"/>
            <ac:spMk id="9" creationId="{61ED4684-B2FB-4D70-ACD7-A339C14484E9}"/>
          </ac:spMkLst>
        </pc:spChg>
        <pc:spChg chg="add del mod">
          <ac:chgData name="Baciu Lupascu, Raluca" userId="68b8499e-70c7-46a5-a7f5-08d4a146f234" providerId="ADAL" clId="{D306BB26-EB9F-4E01-A290-0111A7EB9CD4}" dt="2022-03-09T13:35:47.279" v="3" actId="6264"/>
          <ac:spMkLst>
            <pc:docMk/>
            <pc:sldMk cId="476902243" sldId="392"/>
            <ac:spMk id="10" creationId="{B9A06453-ADEA-48FC-8973-0534E3CCE9D2}"/>
          </ac:spMkLst>
        </pc:spChg>
        <pc:spChg chg="add del mod">
          <ac:chgData name="Baciu Lupascu, Raluca" userId="68b8499e-70c7-46a5-a7f5-08d4a146f234" providerId="ADAL" clId="{D306BB26-EB9F-4E01-A290-0111A7EB9CD4}" dt="2022-03-09T13:35:47.279" v="3" actId="6264"/>
          <ac:spMkLst>
            <pc:docMk/>
            <pc:sldMk cId="476902243" sldId="392"/>
            <ac:spMk id="11" creationId="{A5A21317-E869-4FB1-8857-958F50A66064}"/>
          </ac:spMkLst>
        </pc:spChg>
        <pc:spChg chg="add del mod">
          <ac:chgData name="Baciu Lupascu, Raluca" userId="68b8499e-70c7-46a5-a7f5-08d4a146f234" providerId="ADAL" clId="{D306BB26-EB9F-4E01-A290-0111A7EB9CD4}" dt="2022-03-09T13:35:56.333" v="1867"/>
          <ac:spMkLst>
            <pc:docMk/>
            <pc:sldMk cId="476902243" sldId="392"/>
            <ac:spMk id="12" creationId="{57FB44A5-C796-4794-8FD9-717A51971B01}"/>
          </ac:spMkLst>
        </pc:spChg>
        <pc:spChg chg="add mod ord">
          <ac:chgData name="Baciu Lupascu, Raluca" userId="68b8499e-70c7-46a5-a7f5-08d4a146f234" providerId="ADAL" clId="{D306BB26-EB9F-4E01-A290-0111A7EB9CD4}" dt="2022-03-09T13:36:20.031" v="2090" actId="700"/>
          <ac:spMkLst>
            <pc:docMk/>
            <pc:sldMk cId="476902243" sldId="392"/>
            <ac:spMk id="13" creationId="{97F1EC50-E705-4228-85A0-ECB52C662A27}"/>
          </ac:spMkLst>
        </pc:spChg>
        <pc:spChg chg="add mod ord">
          <ac:chgData name="Baciu Lupascu, Raluca" userId="68b8499e-70c7-46a5-a7f5-08d4a146f234" providerId="ADAL" clId="{D306BB26-EB9F-4E01-A290-0111A7EB9CD4}" dt="2022-03-09T13:36:20.031" v="2090" actId="700"/>
          <ac:spMkLst>
            <pc:docMk/>
            <pc:sldMk cId="476902243" sldId="392"/>
            <ac:spMk id="14" creationId="{84C4595E-E807-44B0-8CAA-337000017F0B}"/>
          </ac:spMkLst>
        </pc:spChg>
        <pc:spChg chg="add mod ord">
          <ac:chgData name="Baciu Lupascu, Raluca" userId="68b8499e-70c7-46a5-a7f5-08d4a146f234" providerId="ADAL" clId="{D306BB26-EB9F-4E01-A290-0111A7EB9CD4}" dt="2022-03-09T13:36:20.031" v="2090" actId="700"/>
          <ac:spMkLst>
            <pc:docMk/>
            <pc:sldMk cId="476902243" sldId="392"/>
            <ac:spMk id="15" creationId="{CBF2E83F-820F-4C7C-BBA3-DE0C4AB6F652}"/>
          </ac:spMkLst>
        </pc:sp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09:01.492" v="2707" actId="1038"/>
        <pc:sldMkLst>
          <pc:docMk/>
          <pc:sldMk cId="1352648766" sldId="393"/>
        </pc:sldMkLst>
        <pc:spChg chg="del mod">
          <ac:chgData name="Baciu Lupascu, Raluca" userId="68b8499e-70c7-46a5-a7f5-08d4a146f234" providerId="ADAL" clId="{D306BB26-EB9F-4E01-A290-0111A7EB9CD4}" dt="2022-03-09T13:35:47.553" v="17" actId="6264"/>
          <ac:spMkLst>
            <pc:docMk/>
            <pc:sldMk cId="1352648766" sldId="393"/>
            <ac:spMk id="2" creationId="{B63D13AF-7E23-49FC-8762-52C70AE3055A}"/>
          </ac:spMkLst>
        </pc:spChg>
        <pc:spChg chg="del mod">
          <ac:chgData name="Baciu Lupascu, Raluca" userId="68b8499e-70c7-46a5-a7f5-08d4a146f234" providerId="ADAL" clId="{D306BB26-EB9F-4E01-A290-0111A7EB9CD4}" dt="2022-03-09T13:35:47.553" v="17" actId="6264"/>
          <ac:spMkLst>
            <pc:docMk/>
            <pc:sldMk cId="1352648766" sldId="393"/>
            <ac:spMk id="3" creationId="{D7CC29A3-86F4-457B-B93E-6AEAEA8F2033}"/>
          </ac:spMkLst>
        </pc:spChg>
        <pc:spChg chg="del mod ord">
          <ac:chgData name="Baciu Lupascu, Raluca" userId="68b8499e-70c7-46a5-a7f5-08d4a146f234" providerId="ADAL" clId="{D306BB26-EB9F-4E01-A290-0111A7EB9CD4}" dt="2022-03-09T13:35:48.578" v="268"/>
          <ac:spMkLst>
            <pc:docMk/>
            <pc:sldMk cId="1352648766" sldId="393"/>
            <ac:spMk id="4" creationId="{DBAC79B8-6B28-4BB9-8E89-B954EC6631D6}"/>
          </ac:spMkLst>
        </pc:spChg>
        <pc:spChg chg="del mod ord">
          <ac:chgData name="Baciu Lupascu, Raluca" userId="68b8499e-70c7-46a5-a7f5-08d4a146f234" providerId="ADAL" clId="{D306BB26-EB9F-4E01-A290-0111A7EB9CD4}" dt="2022-03-09T13:35:48.578" v="270"/>
          <ac:spMkLst>
            <pc:docMk/>
            <pc:sldMk cId="1352648766" sldId="393"/>
            <ac:spMk id="5" creationId="{968CBF6B-E1EF-45EA-A954-80596C7B2D43}"/>
          </ac:spMkLst>
        </pc:spChg>
        <pc:spChg chg="del mod ord">
          <ac:chgData name="Baciu Lupascu, Raluca" userId="68b8499e-70c7-46a5-a7f5-08d4a146f234" providerId="ADAL" clId="{D306BB26-EB9F-4E01-A290-0111A7EB9CD4}" dt="2022-03-09T13:35:48.578" v="269"/>
          <ac:spMkLst>
            <pc:docMk/>
            <pc:sldMk cId="1352648766" sldId="393"/>
            <ac:spMk id="6" creationId="{0B451A65-D496-45DA-ABBC-1CB59E6DEAE4}"/>
          </ac:spMkLst>
        </pc:spChg>
        <pc:spChg chg="add del mod">
          <ac:chgData name="Baciu Lupascu, Raluca" userId="68b8499e-70c7-46a5-a7f5-08d4a146f234" providerId="ADAL" clId="{D306BB26-EB9F-4E01-A290-0111A7EB9CD4}" dt="2022-03-09T13:35:47.553" v="17" actId="6264"/>
          <ac:spMkLst>
            <pc:docMk/>
            <pc:sldMk cId="1352648766" sldId="393"/>
            <ac:spMk id="7" creationId="{E911839D-B66B-4C10-AC94-2E143D294B45}"/>
          </ac:spMkLst>
        </pc:spChg>
        <pc:spChg chg="add del mod">
          <ac:chgData name="Baciu Lupascu, Raluca" userId="68b8499e-70c7-46a5-a7f5-08d4a146f234" providerId="ADAL" clId="{D306BB26-EB9F-4E01-A290-0111A7EB9CD4}" dt="2022-03-09T13:35:47.553" v="17" actId="6264"/>
          <ac:spMkLst>
            <pc:docMk/>
            <pc:sldMk cId="1352648766" sldId="393"/>
            <ac:spMk id="9" creationId="{F25DD4E6-FB36-4464-82F9-1916127D7848}"/>
          </ac:spMkLst>
        </pc:spChg>
        <pc:spChg chg="add del mod">
          <ac:chgData name="Baciu Lupascu, Raluca" userId="68b8499e-70c7-46a5-a7f5-08d4a146f234" providerId="ADAL" clId="{D306BB26-EB9F-4E01-A290-0111A7EB9CD4}" dt="2022-03-09T13:35:47.553" v="17" actId="6264"/>
          <ac:spMkLst>
            <pc:docMk/>
            <pc:sldMk cId="1352648766" sldId="393"/>
            <ac:spMk id="10" creationId="{05C9041C-3E2F-463B-BB70-813D12A91894}"/>
          </ac:spMkLst>
        </pc:spChg>
        <pc:spChg chg="add del mod ord">
          <ac:chgData name="Baciu Lupascu, Raluca" userId="68b8499e-70c7-46a5-a7f5-08d4a146f234" providerId="ADAL" clId="{D306BB26-EB9F-4E01-A290-0111A7EB9CD4}" dt="2022-03-09T13:35:48.591" v="275"/>
          <ac:spMkLst>
            <pc:docMk/>
            <pc:sldMk cId="1352648766" sldId="393"/>
            <ac:spMk id="11" creationId="{3C7F6940-3ADD-4B2A-B20D-51155554CCB0}"/>
          </ac:spMkLst>
        </pc:spChg>
        <pc:spChg chg="add del mod ord">
          <ac:chgData name="Baciu Lupascu, Raluca" userId="68b8499e-70c7-46a5-a7f5-08d4a146f234" providerId="ADAL" clId="{D306BB26-EB9F-4E01-A290-0111A7EB9CD4}" dt="2022-03-09T13:35:48.591" v="275"/>
          <ac:spMkLst>
            <pc:docMk/>
            <pc:sldMk cId="1352648766" sldId="393"/>
            <ac:spMk id="12" creationId="{A91ADA52-B8F0-4387-BECC-E17F30FA9DCC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52648766" sldId="393"/>
            <ac:spMk id="13" creationId="{C312D87C-2673-45AC-AB46-5EA1564B70CD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52648766" sldId="393"/>
            <ac:spMk id="14" creationId="{B37A838F-2284-4845-802F-73E02505999D}"/>
          </ac:spMkLst>
        </pc:spChg>
        <pc:spChg chg="add del mod">
          <ac:chgData name="Baciu Lupascu, Raluca" userId="68b8499e-70c7-46a5-a7f5-08d4a146f234" providerId="ADAL" clId="{D306BB26-EB9F-4E01-A290-0111A7EB9CD4}" dt="2022-03-09T13:35:56.360" v="1937"/>
          <ac:spMkLst>
            <pc:docMk/>
            <pc:sldMk cId="1352648766" sldId="393"/>
            <ac:spMk id="15" creationId="{1F4AEB11-70E2-4D12-9F43-9E459E887AC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52648766" sldId="393"/>
            <ac:spMk id="16" creationId="{103C4493-EC8E-46F9-989C-8E52AF9AF81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52648766" sldId="393"/>
            <ac:spMk id="17" creationId="{FF1C7466-2591-44CD-85C1-A843D84427D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352648766" sldId="393"/>
            <ac:spMk id="18" creationId="{8130B3C1-195A-43F9-9307-7B43B7F88A8B}"/>
          </ac:spMkLst>
        </pc:spChg>
        <pc:spChg chg="add del mod ord">
          <ac:chgData name="Baciu Lupascu, Raluca" userId="68b8499e-70c7-46a5-a7f5-08d4a146f234" providerId="ADAL" clId="{D306BB26-EB9F-4E01-A290-0111A7EB9CD4}" dt="2022-03-09T14:08:55.113" v="2698" actId="478"/>
          <ac:spMkLst>
            <pc:docMk/>
            <pc:sldMk cId="1352648766" sldId="393"/>
            <ac:spMk id="19" creationId="{0B3BD9D4-14C8-49CE-B69A-5221630EA312}"/>
          </ac:spMkLst>
        </pc:spChg>
        <pc:spChg chg="add del mod ord">
          <ac:chgData name="Baciu Lupascu, Raluca" userId="68b8499e-70c7-46a5-a7f5-08d4a146f234" providerId="ADAL" clId="{D306BB26-EB9F-4E01-A290-0111A7EB9CD4}" dt="2022-03-09T14:08:56.712" v="2699" actId="478"/>
          <ac:spMkLst>
            <pc:docMk/>
            <pc:sldMk cId="1352648766" sldId="393"/>
            <ac:spMk id="20" creationId="{68676B7D-13CB-4857-A47B-22D0CF264EB2}"/>
          </ac:spMkLst>
        </pc:spChg>
        <pc:picChg chg="mod">
          <ac:chgData name="Baciu Lupascu, Raluca" userId="68b8499e-70c7-46a5-a7f5-08d4a146f234" providerId="ADAL" clId="{D306BB26-EB9F-4E01-A290-0111A7EB9CD4}" dt="2022-03-09T14:09:01.492" v="2707" actId="1038"/>
          <ac:picMkLst>
            <pc:docMk/>
            <pc:sldMk cId="1352648766" sldId="393"/>
            <ac:picMk id="8" creationId="{8CDB9DA4-2038-421D-8CBA-0678E2588B12}"/>
          </ac:picMkLst>
        </pc:pic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09:21.944" v="2717" actId="2696"/>
        <pc:sldMkLst>
          <pc:docMk/>
          <pc:sldMk cId="3211198227" sldId="394"/>
        </pc:sldMkLst>
        <pc:spChg chg="mod ord">
          <ac:chgData name="Baciu Lupascu, Raluca" userId="68b8499e-70c7-46a5-a7f5-08d4a146f234" providerId="ADAL" clId="{D306BB26-EB9F-4E01-A290-0111A7EB9CD4}" dt="2022-03-09T14:09:21.471" v="2715" actId="12"/>
          <ac:spMkLst>
            <pc:docMk/>
            <pc:sldMk cId="3211198227" sldId="394"/>
            <ac:spMk id="2" creationId="{C1F5861E-D3CA-4DE4-8891-535D46D3E8BD}"/>
          </ac:spMkLst>
        </pc:spChg>
        <pc:spChg chg="mod ord">
          <ac:chgData name="Baciu Lupascu, Raluca" userId="68b8499e-70c7-46a5-a7f5-08d4a146f234" providerId="ADAL" clId="{D306BB26-EB9F-4E01-A290-0111A7EB9CD4}" dt="2022-03-09T14:09:16.853" v="2710" actId="14100"/>
          <ac:spMkLst>
            <pc:docMk/>
            <pc:sldMk cId="3211198227" sldId="394"/>
            <ac:spMk id="3" creationId="{6B09C4ED-B77C-4002-A3A1-B4607FEAD7E7}"/>
          </ac:spMkLst>
        </pc:spChg>
        <pc:spChg chg="del mod ord">
          <ac:chgData name="Baciu Lupascu, Raluca" userId="68b8499e-70c7-46a5-a7f5-08d4a146f234" providerId="ADAL" clId="{D306BB26-EB9F-4E01-A290-0111A7EB9CD4}" dt="2022-03-09T13:35:48.606" v="291"/>
          <ac:spMkLst>
            <pc:docMk/>
            <pc:sldMk cId="3211198227" sldId="394"/>
            <ac:spMk id="4" creationId="{A0092050-096C-41BB-808A-0353B0E2F2D1}"/>
          </ac:spMkLst>
        </pc:spChg>
        <pc:spChg chg="del mod ord">
          <ac:chgData name="Baciu Lupascu, Raluca" userId="68b8499e-70c7-46a5-a7f5-08d4a146f234" providerId="ADAL" clId="{D306BB26-EB9F-4E01-A290-0111A7EB9CD4}" dt="2022-03-09T13:35:48.607" v="293"/>
          <ac:spMkLst>
            <pc:docMk/>
            <pc:sldMk cId="3211198227" sldId="394"/>
            <ac:spMk id="5" creationId="{F7DB442A-1F80-4E3D-B01A-BA2E7E73A525}"/>
          </ac:spMkLst>
        </pc:spChg>
        <pc:spChg chg="del mod ord">
          <ac:chgData name="Baciu Lupascu, Raluca" userId="68b8499e-70c7-46a5-a7f5-08d4a146f234" providerId="ADAL" clId="{D306BB26-EB9F-4E01-A290-0111A7EB9CD4}" dt="2022-03-09T13:35:48.606" v="292"/>
          <ac:spMkLst>
            <pc:docMk/>
            <pc:sldMk cId="3211198227" sldId="394"/>
            <ac:spMk id="6" creationId="{2AE17C71-A573-4FC0-911E-15153DBE3200}"/>
          </ac:spMkLst>
        </pc:spChg>
        <pc:spChg chg="add del mod">
          <ac:chgData name="Baciu Lupascu, Raluca" userId="68b8499e-70c7-46a5-a7f5-08d4a146f234" providerId="ADAL" clId="{D306BB26-EB9F-4E01-A290-0111A7EB9CD4}" dt="2022-03-09T13:35:47.591" v="19" actId="6264"/>
          <ac:spMkLst>
            <pc:docMk/>
            <pc:sldMk cId="3211198227" sldId="394"/>
            <ac:spMk id="7" creationId="{4FDA4783-5E78-49DF-ADD9-89A00C53E7BA}"/>
          </ac:spMkLst>
        </pc:spChg>
        <pc:spChg chg="add del mod">
          <ac:chgData name="Baciu Lupascu, Raluca" userId="68b8499e-70c7-46a5-a7f5-08d4a146f234" providerId="ADAL" clId="{D306BB26-EB9F-4E01-A290-0111A7EB9CD4}" dt="2022-03-09T13:35:47.591" v="19" actId="6264"/>
          <ac:spMkLst>
            <pc:docMk/>
            <pc:sldMk cId="3211198227" sldId="394"/>
            <ac:spMk id="8" creationId="{EC628749-07CB-462D-BC8A-265290B4332D}"/>
          </ac:spMkLst>
        </pc:spChg>
        <pc:spChg chg="add del mod">
          <ac:chgData name="Baciu Lupascu, Raluca" userId="68b8499e-70c7-46a5-a7f5-08d4a146f234" providerId="ADAL" clId="{D306BB26-EB9F-4E01-A290-0111A7EB9CD4}" dt="2022-03-09T13:35:47.591" v="19" actId="6264"/>
          <ac:spMkLst>
            <pc:docMk/>
            <pc:sldMk cId="3211198227" sldId="394"/>
            <ac:spMk id="9" creationId="{6AEFD85A-BF1A-4350-A1FE-6CFECF71B3CC}"/>
          </ac:spMkLst>
        </pc:spChg>
        <pc:spChg chg="add del mod">
          <ac:chgData name="Baciu Lupascu, Raluca" userId="68b8499e-70c7-46a5-a7f5-08d4a146f234" providerId="ADAL" clId="{D306BB26-EB9F-4E01-A290-0111A7EB9CD4}" dt="2022-03-09T13:35:47.591" v="19" actId="6264"/>
          <ac:spMkLst>
            <pc:docMk/>
            <pc:sldMk cId="3211198227" sldId="394"/>
            <ac:spMk id="10" creationId="{B6C282FC-BE9C-4AE3-AB45-8CC67806977E}"/>
          </ac:spMkLst>
        </pc:spChg>
        <pc:spChg chg="add del mod">
          <ac:chgData name="Baciu Lupascu, Raluca" userId="68b8499e-70c7-46a5-a7f5-08d4a146f234" providerId="ADAL" clId="{D306BB26-EB9F-4E01-A290-0111A7EB9CD4}" dt="2022-03-09T13:35:47.591" v="19" actId="6264"/>
          <ac:spMkLst>
            <pc:docMk/>
            <pc:sldMk cId="3211198227" sldId="394"/>
            <ac:spMk id="12" creationId="{01EA4AF3-C76E-457E-ABCF-EF5C71EB11C6}"/>
          </ac:spMkLst>
        </pc:spChg>
        <pc:spChg chg="add del mod">
          <ac:chgData name="Baciu Lupascu, Raluca" userId="68b8499e-70c7-46a5-a7f5-08d4a146f234" providerId="ADAL" clId="{D306BB26-EB9F-4E01-A290-0111A7EB9CD4}" dt="2022-03-09T13:35:56.364" v="1947"/>
          <ac:spMkLst>
            <pc:docMk/>
            <pc:sldMk cId="3211198227" sldId="394"/>
            <ac:spMk id="13" creationId="{3819E469-29B7-4DAB-A01F-D0684CE852F1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11198227" sldId="394"/>
            <ac:spMk id="14" creationId="{17169F6B-A244-43AE-B6EC-CC1805C9F8C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11198227" sldId="394"/>
            <ac:spMk id="16" creationId="{43045864-0E2D-4514-A134-C8B9DE6A61B4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3211198227" sldId="394"/>
            <ac:spMk id="17" creationId="{CC10155C-40EB-4396-BB78-6E3281C24FD1}"/>
          </ac:spMkLst>
        </pc:spChg>
        <pc:picChg chg="del">
          <ac:chgData name="Baciu Lupascu, Raluca" userId="68b8499e-70c7-46a5-a7f5-08d4a146f234" providerId="ADAL" clId="{D306BB26-EB9F-4E01-A290-0111A7EB9CD4}" dt="2022-03-09T14:09:09.007" v="2708" actId="478"/>
          <ac:picMkLst>
            <pc:docMk/>
            <pc:sldMk cId="3211198227" sldId="394"/>
            <ac:picMk id="11" creationId="{10306C7A-2639-417F-9F70-68B657DFC9B7}"/>
          </ac:picMkLst>
        </pc:picChg>
        <pc:picChg chg="mod">
          <ac:chgData name="Baciu Lupascu, Raluca" userId="68b8499e-70c7-46a5-a7f5-08d4a146f234" providerId="ADAL" clId="{D306BB26-EB9F-4E01-A290-0111A7EB9CD4}" dt="2022-03-09T14:09:12.695" v="2709" actId="1076"/>
          <ac:picMkLst>
            <pc:docMk/>
            <pc:sldMk cId="3211198227" sldId="394"/>
            <ac:picMk id="15" creationId="{E72D617A-6662-4F54-B690-A3D14247BA4A}"/>
          </ac:picMkLst>
        </pc:picChg>
      </pc:sldChg>
      <pc:sldChg chg="addSp delSp modSp add del mod modTransition modClrScheme chgLayout modNotes">
        <pc:chgData name="Baciu Lupascu, Raluca" userId="68b8499e-70c7-46a5-a7f5-08d4a146f234" providerId="ADAL" clId="{D306BB26-EB9F-4E01-A290-0111A7EB9CD4}" dt="2022-03-09T14:10:59.586" v="2738" actId="47"/>
        <pc:sldMkLst>
          <pc:docMk/>
          <pc:sldMk cId="66612889" sldId="395"/>
        </pc:sldMkLst>
        <pc:spChg chg="del mod">
          <ac:chgData name="Baciu Lupascu, Raluca" userId="68b8499e-70c7-46a5-a7f5-08d4a146f234" providerId="ADAL" clId="{D306BB26-EB9F-4E01-A290-0111A7EB9CD4}" dt="2022-03-09T13:35:47.606" v="20" actId="6264"/>
          <ac:spMkLst>
            <pc:docMk/>
            <pc:sldMk cId="66612889" sldId="395"/>
            <ac:spMk id="2" creationId="{C0EAC133-B555-4874-973B-41C440CE5025}"/>
          </ac:spMkLst>
        </pc:spChg>
        <pc:spChg chg="del mod">
          <ac:chgData name="Baciu Lupascu, Raluca" userId="68b8499e-70c7-46a5-a7f5-08d4a146f234" providerId="ADAL" clId="{D306BB26-EB9F-4E01-A290-0111A7EB9CD4}" dt="2022-03-09T13:35:47.606" v="20" actId="6264"/>
          <ac:spMkLst>
            <pc:docMk/>
            <pc:sldMk cId="66612889" sldId="395"/>
            <ac:spMk id="3" creationId="{F09FFDC7-7CBD-47F5-BFB3-091BB8EFF9CC}"/>
          </ac:spMkLst>
        </pc:spChg>
        <pc:spChg chg="del mod ord">
          <ac:chgData name="Baciu Lupascu, Raluca" userId="68b8499e-70c7-46a5-a7f5-08d4a146f234" providerId="ADAL" clId="{D306BB26-EB9F-4E01-A290-0111A7EB9CD4}" dt="2022-03-09T13:35:48.620" v="303"/>
          <ac:spMkLst>
            <pc:docMk/>
            <pc:sldMk cId="66612889" sldId="395"/>
            <ac:spMk id="4" creationId="{5CC49E95-D042-43FE-9698-4E1DF93446DD}"/>
          </ac:spMkLst>
        </pc:spChg>
        <pc:spChg chg="del mod ord">
          <ac:chgData name="Baciu Lupascu, Raluca" userId="68b8499e-70c7-46a5-a7f5-08d4a146f234" providerId="ADAL" clId="{D306BB26-EB9F-4E01-A290-0111A7EB9CD4}" dt="2022-03-09T13:35:48.621" v="305"/>
          <ac:spMkLst>
            <pc:docMk/>
            <pc:sldMk cId="66612889" sldId="395"/>
            <ac:spMk id="5" creationId="{73BA2D1A-A927-45B8-BDCE-BA8D32D404ED}"/>
          </ac:spMkLst>
        </pc:spChg>
        <pc:spChg chg="del mod ord">
          <ac:chgData name="Baciu Lupascu, Raluca" userId="68b8499e-70c7-46a5-a7f5-08d4a146f234" providerId="ADAL" clId="{D306BB26-EB9F-4E01-A290-0111A7EB9CD4}" dt="2022-03-09T13:35:48.620" v="304"/>
          <ac:spMkLst>
            <pc:docMk/>
            <pc:sldMk cId="66612889" sldId="395"/>
            <ac:spMk id="6" creationId="{A7F19954-41E9-498D-88EC-F4990D549E1D}"/>
          </ac:spMkLst>
        </pc:spChg>
        <pc:spChg chg="add del mod">
          <ac:chgData name="Baciu Lupascu, Raluca" userId="68b8499e-70c7-46a5-a7f5-08d4a146f234" providerId="ADAL" clId="{D306BB26-EB9F-4E01-A290-0111A7EB9CD4}" dt="2022-03-09T13:35:47.606" v="20" actId="6264"/>
          <ac:spMkLst>
            <pc:docMk/>
            <pc:sldMk cId="66612889" sldId="395"/>
            <ac:spMk id="7" creationId="{363B5751-9C7F-4341-B4B7-1A0485DD5263}"/>
          </ac:spMkLst>
        </pc:spChg>
        <pc:spChg chg="add del mod">
          <ac:chgData name="Baciu Lupascu, Raluca" userId="68b8499e-70c7-46a5-a7f5-08d4a146f234" providerId="ADAL" clId="{D306BB26-EB9F-4E01-A290-0111A7EB9CD4}" dt="2022-03-09T13:35:47.606" v="20" actId="6264"/>
          <ac:spMkLst>
            <pc:docMk/>
            <pc:sldMk cId="66612889" sldId="395"/>
            <ac:spMk id="9" creationId="{604EC859-A729-4541-ABA2-3871C109022B}"/>
          </ac:spMkLst>
        </pc:spChg>
        <pc:spChg chg="add del mod">
          <ac:chgData name="Baciu Lupascu, Raluca" userId="68b8499e-70c7-46a5-a7f5-08d4a146f234" providerId="ADAL" clId="{D306BB26-EB9F-4E01-A290-0111A7EB9CD4}" dt="2022-03-09T13:35:47.606" v="20" actId="6264"/>
          <ac:spMkLst>
            <pc:docMk/>
            <pc:sldMk cId="66612889" sldId="395"/>
            <ac:spMk id="10" creationId="{F1D61AF6-496F-4BB4-8C6D-FFC6920B9C06}"/>
          </ac:spMkLst>
        </pc:spChg>
        <pc:spChg chg="add del mod ord">
          <ac:chgData name="Baciu Lupascu, Raluca" userId="68b8499e-70c7-46a5-a7f5-08d4a146f234" providerId="ADAL" clId="{D306BB26-EB9F-4E01-A290-0111A7EB9CD4}" dt="2022-03-09T13:35:48.632" v="310"/>
          <ac:spMkLst>
            <pc:docMk/>
            <pc:sldMk cId="66612889" sldId="395"/>
            <ac:spMk id="11" creationId="{A91BE346-364E-45AB-8904-FA7B1101B5F8}"/>
          </ac:spMkLst>
        </pc:spChg>
        <pc:spChg chg="add del mod ord">
          <ac:chgData name="Baciu Lupascu, Raluca" userId="68b8499e-70c7-46a5-a7f5-08d4a146f234" providerId="ADAL" clId="{D306BB26-EB9F-4E01-A290-0111A7EB9CD4}" dt="2022-03-09T13:35:48.632" v="310"/>
          <ac:spMkLst>
            <pc:docMk/>
            <pc:sldMk cId="66612889" sldId="395"/>
            <ac:spMk id="12" creationId="{73B61A4B-28E9-4226-A422-AF4D4E82D774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3" creationId="{BFA7728D-7D08-4E3B-9911-13C84FE0EA41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4" creationId="{A7430A3B-3E1B-44E4-BF37-25521E5DF0D9}"/>
          </ac:spMkLst>
        </pc:spChg>
        <pc:spChg chg="add del mod">
          <ac:chgData name="Baciu Lupascu, Raluca" userId="68b8499e-70c7-46a5-a7f5-08d4a146f234" providerId="ADAL" clId="{D306BB26-EB9F-4E01-A290-0111A7EB9CD4}" dt="2022-03-09T13:35:56.365" v="1952"/>
          <ac:spMkLst>
            <pc:docMk/>
            <pc:sldMk cId="66612889" sldId="395"/>
            <ac:spMk id="15" creationId="{5EB741CB-D8A4-46D1-B170-09605DC90A68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6" creationId="{FD4096DD-6452-4258-8A24-AA191B68DA20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7" creationId="{C823BC41-4280-40B5-9D23-E223BD97E52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8" creationId="{55FF2022-6A31-4340-B624-719CCE6E87DB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19" creationId="{4B8472AA-FA4B-4326-8FC0-3904439B5EF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66612889" sldId="395"/>
            <ac:spMk id="20" creationId="{77E7BC85-7D9E-4671-B2B7-FB098C7C2284}"/>
          </ac:spMkLst>
        </pc:spChg>
        <pc:picChg chg="del">
          <ac:chgData name="Baciu Lupascu, Raluca" userId="68b8499e-70c7-46a5-a7f5-08d4a146f234" providerId="ADAL" clId="{D306BB26-EB9F-4E01-A290-0111A7EB9CD4}" dt="2022-03-09T14:10:02.972" v="2729" actId="21"/>
          <ac:picMkLst>
            <pc:docMk/>
            <pc:sldMk cId="66612889" sldId="395"/>
            <ac:picMk id="8" creationId="{D810F6E7-AA67-4592-AD74-40AE4967B1B4}"/>
          </ac:picMkLst>
        </pc:picChg>
      </pc:sldChg>
      <pc:sldChg chg="addSp delSp modSp mod modTransition modClrScheme chgLayout modNotes">
        <pc:chgData name="Baciu Lupascu, Raluca" userId="68b8499e-70c7-46a5-a7f5-08d4a146f234" providerId="ADAL" clId="{D306BB26-EB9F-4E01-A290-0111A7EB9CD4}" dt="2022-03-09T14:29:05.133" v="3054" actId="20577"/>
        <pc:sldMkLst>
          <pc:docMk/>
          <pc:sldMk cId="2006304597" sldId="396"/>
        </pc:sldMkLst>
        <pc:spChg chg="add del mod">
          <ac:chgData name="Baciu Lupascu, Raluca" userId="68b8499e-70c7-46a5-a7f5-08d4a146f234" providerId="ADAL" clId="{D306BB26-EB9F-4E01-A290-0111A7EB9CD4}" dt="2022-03-09T13:35:47.820" v="32" actId="6264"/>
          <ac:spMkLst>
            <pc:docMk/>
            <pc:sldMk cId="2006304597" sldId="396"/>
            <ac:spMk id="2" creationId="{03DB072A-D899-475F-861B-35C293F28CED}"/>
          </ac:spMkLst>
        </pc:spChg>
        <pc:spChg chg="del mod">
          <ac:chgData name="Baciu Lupascu, Raluca" userId="68b8499e-70c7-46a5-a7f5-08d4a146f234" providerId="ADAL" clId="{D306BB26-EB9F-4E01-A290-0111A7EB9CD4}" dt="2022-03-09T13:35:47.820" v="32" actId="6264"/>
          <ac:spMkLst>
            <pc:docMk/>
            <pc:sldMk cId="2006304597" sldId="396"/>
            <ac:spMk id="3" creationId="{7A33C822-6A08-426B-BCFC-A447B0C87D06}"/>
          </ac:spMkLst>
        </pc:spChg>
        <pc:spChg chg="del mod ord">
          <ac:chgData name="Baciu Lupascu, Raluca" userId="68b8499e-70c7-46a5-a7f5-08d4a146f234" providerId="ADAL" clId="{D306BB26-EB9F-4E01-A290-0111A7EB9CD4}" dt="2022-03-09T13:35:48.782" v="443"/>
          <ac:spMkLst>
            <pc:docMk/>
            <pc:sldMk cId="2006304597" sldId="396"/>
            <ac:spMk id="4" creationId="{B1E33D09-C352-4AC0-A310-E13804F4C5F1}"/>
          </ac:spMkLst>
        </pc:spChg>
        <pc:spChg chg="del mod ord">
          <ac:chgData name="Baciu Lupascu, Raluca" userId="68b8499e-70c7-46a5-a7f5-08d4a146f234" providerId="ADAL" clId="{D306BB26-EB9F-4E01-A290-0111A7EB9CD4}" dt="2022-03-09T13:35:48.782" v="445"/>
          <ac:spMkLst>
            <pc:docMk/>
            <pc:sldMk cId="2006304597" sldId="396"/>
            <ac:spMk id="5" creationId="{969B1C3F-0923-4411-AB86-4D0829CF3E41}"/>
          </ac:spMkLst>
        </pc:spChg>
        <pc:spChg chg="del mod ord">
          <ac:chgData name="Baciu Lupascu, Raluca" userId="68b8499e-70c7-46a5-a7f5-08d4a146f234" providerId="ADAL" clId="{D306BB26-EB9F-4E01-A290-0111A7EB9CD4}" dt="2022-03-09T13:35:48.782" v="444"/>
          <ac:spMkLst>
            <pc:docMk/>
            <pc:sldMk cId="2006304597" sldId="396"/>
            <ac:spMk id="6" creationId="{F5C20822-88A7-4DD4-82BB-F2707211AE0E}"/>
          </ac:spMkLst>
        </pc:spChg>
        <pc:spChg chg="add del mod">
          <ac:chgData name="Baciu Lupascu, Raluca" userId="68b8499e-70c7-46a5-a7f5-08d4a146f234" providerId="ADAL" clId="{D306BB26-EB9F-4E01-A290-0111A7EB9CD4}" dt="2022-03-09T13:35:47.820" v="32" actId="6264"/>
          <ac:spMkLst>
            <pc:docMk/>
            <pc:sldMk cId="2006304597" sldId="396"/>
            <ac:spMk id="7" creationId="{5FEAF9B6-123A-49DB-BC4D-3796EA7FC1F8}"/>
          </ac:spMkLst>
        </pc:spChg>
        <pc:spChg chg="mod">
          <ac:chgData name="Baciu Lupascu, Raluca" userId="68b8499e-70c7-46a5-a7f5-08d4a146f234" providerId="ADAL" clId="{D306BB26-EB9F-4E01-A290-0111A7EB9CD4}" dt="2022-03-09T14:28:01.773" v="3044" actId="1076"/>
          <ac:spMkLst>
            <pc:docMk/>
            <pc:sldMk cId="2006304597" sldId="396"/>
            <ac:spMk id="9" creationId="{0D310936-51C6-48E3-8295-62A4402B5C5A}"/>
          </ac:spMkLst>
        </pc:spChg>
        <pc:spChg chg="add del mod">
          <ac:chgData name="Baciu Lupascu, Raluca" userId="68b8499e-70c7-46a5-a7f5-08d4a146f234" providerId="ADAL" clId="{D306BB26-EB9F-4E01-A290-0111A7EB9CD4}" dt="2022-03-09T13:35:47.820" v="32" actId="6264"/>
          <ac:spMkLst>
            <pc:docMk/>
            <pc:sldMk cId="2006304597" sldId="396"/>
            <ac:spMk id="10" creationId="{3069EC01-B05C-400D-A4D8-B0A50E7978F4}"/>
          </ac:spMkLst>
        </pc:spChg>
        <pc:spChg chg="add del mod">
          <ac:chgData name="Baciu Lupascu, Raluca" userId="68b8499e-70c7-46a5-a7f5-08d4a146f234" providerId="ADAL" clId="{D306BB26-EB9F-4E01-A290-0111A7EB9CD4}" dt="2022-03-09T13:35:47.820" v="32" actId="6264"/>
          <ac:spMkLst>
            <pc:docMk/>
            <pc:sldMk cId="2006304597" sldId="396"/>
            <ac:spMk id="11" creationId="{3D81EEB1-3DA6-4FC1-894D-E80D674529E0}"/>
          </ac:spMkLst>
        </pc:spChg>
        <pc:spChg chg="add del mod ord">
          <ac:chgData name="Baciu Lupascu, Raluca" userId="68b8499e-70c7-46a5-a7f5-08d4a146f234" providerId="ADAL" clId="{D306BB26-EB9F-4E01-A290-0111A7EB9CD4}" dt="2022-03-09T13:35:48.793" v="450"/>
          <ac:spMkLst>
            <pc:docMk/>
            <pc:sldMk cId="2006304597" sldId="396"/>
            <ac:spMk id="12" creationId="{811FE8A2-BA34-4320-9F70-C32D7725D451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006304597" sldId="396"/>
            <ac:spMk id="13" creationId="{12EFA88D-3F40-4CF3-B271-F40280F7A05E}"/>
          </ac:spMkLst>
        </pc:spChg>
        <pc:spChg chg="add del mod">
          <ac:chgData name="Baciu Lupascu, Raluca" userId="68b8499e-70c7-46a5-a7f5-08d4a146f234" providerId="ADAL" clId="{D306BB26-EB9F-4E01-A290-0111A7EB9CD4}" dt="2022-03-09T13:35:56.388" v="2012"/>
          <ac:spMkLst>
            <pc:docMk/>
            <pc:sldMk cId="2006304597" sldId="396"/>
            <ac:spMk id="14" creationId="{750112C4-3820-4ADD-9A2A-938D5DA5005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006304597" sldId="396"/>
            <ac:spMk id="15" creationId="{D3A581F5-2625-46AD-B463-89828E5942A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006304597" sldId="396"/>
            <ac:spMk id="16" creationId="{E501704C-42B6-456F-B6ED-5DE0B45449EA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2006304597" sldId="396"/>
            <ac:spMk id="17" creationId="{2DC3C4CC-A494-4B49-B50E-44E9807A66BD}"/>
          </ac:spMkLst>
        </pc:spChg>
        <pc:spChg chg="add del mod ord">
          <ac:chgData name="Baciu Lupascu, Raluca" userId="68b8499e-70c7-46a5-a7f5-08d4a146f234" providerId="ADAL" clId="{D306BB26-EB9F-4E01-A290-0111A7EB9CD4}" dt="2022-03-09T14:27:48.262" v="3041" actId="478"/>
          <ac:spMkLst>
            <pc:docMk/>
            <pc:sldMk cId="2006304597" sldId="396"/>
            <ac:spMk id="18" creationId="{EFD08B13-60DA-4FF0-AE60-6440F3B9EDEC}"/>
          </ac:spMkLst>
        </pc:spChg>
        <pc:spChg chg="add mod">
          <ac:chgData name="Baciu Lupascu, Raluca" userId="68b8499e-70c7-46a5-a7f5-08d4a146f234" providerId="ADAL" clId="{D306BB26-EB9F-4E01-A290-0111A7EB9CD4}" dt="2022-03-09T14:29:05.133" v="3054" actId="20577"/>
          <ac:spMkLst>
            <pc:docMk/>
            <pc:sldMk cId="2006304597" sldId="396"/>
            <ac:spMk id="19" creationId="{8466EC96-C2AB-49CD-A178-CA8D143A7253}"/>
          </ac:spMkLst>
        </pc:spChg>
        <pc:picChg chg="mod ord">
          <ac:chgData name="Baciu Lupascu, Raluca" userId="68b8499e-70c7-46a5-a7f5-08d4a146f234" providerId="ADAL" clId="{D306BB26-EB9F-4E01-A290-0111A7EB9CD4}" dt="2022-03-09T14:28:27.084" v="3048" actId="1036"/>
          <ac:picMkLst>
            <pc:docMk/>
            <pc:sldMk cId="2006304597" sldId="396"/>
            <ac:picMk id="8" creationId="{49552CDC-3195-4043-BC61-DA7F4B2651DF}"/>
          </ac:picMkLst>
        </pc:pic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27:45.351" v="3040" actId="2696"/>
        <pc:sldMkLst>
          <pc:docMk/>
          <pc:sldMk cId="1501677093" sldId="397"/>
        </pc:sldMkLst>
        <pc:spChg chg="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3" creationId="{7B082DCA-ACC7-4EB3-A7E4-A9EB24BD0D43}"/>
          </ac:spMkLst>
        </pc:spChg>
        <pc:spChg chg="del mod ord">
          <ac:chgData name="Baciu Lupascu, Raluca" userId="68b8499e-70c7-46a5-a7f5-08d4a146f234" providerId="ADAL" clId="{D306BB26-EB9F-4E01-A290-0111A7EB9CD4}" dt="2022-03-09T13:35:48.769" v="431"/>
          <ac:spMkLst>
            <pc:docMk/>
            <pc:sldMk cId="1501677093" sldId="397"/>
            <ac:spMk id="4" creationId="{AB9D5EF5-BB36-4ACB-98F5-0F5196482DEB}"/>
          </ac:spMkLst>
        </pc:spChg>
        <pc:spChg chg="del mod ord">
          <ac:chgData name="Baciu Lupascu, Raluca" userId="68b8499e-70c7-46a5-a7f5-08d4a146f234" providerId="ADAL" clId="{D306BB26-EB9F-4E01-A290-0111A7EB9CD4}" dt="2022-03-09T13:35:48.770" v="433"/>
          <ac:spMkLst>
            <pc:docMk/>
            <pc:sldMk cId="1501677093" sldId="397"/>
            <ac:spMk id="5" creationId="{3025574D-9755-490F-B415-1BF5ED416BD1}"/>
          </ac:spMkLst>
        </pc:spChg>
        <pc:spChg chg="del mod ord">
          <ac:chgData name="Baciu Lupascu, Raluca" userId="68b8499e-70c7-46a5-a7f5-08d4a146f234" providerId="ADAL" clId="{D306BB26-EB9F-4E01-A290-0111A7EB9CD4}" dt="2022-03-09T13:35:48.769" v="432"/>
          <ac:spMkLst>
            <pc:docMk/>
            <pc:sldMk cId="1501677093" sldId="397"/>
            <ac:spMk id="6" creationId="{97834F80-78FC-48B8-BFDE-BC15CA20EDB4}"/>
          </ac:spMkLst>
        </pc:spChg>
        <pc:spChg chg="add del mod">
          <ac:chgData name="Baciu Lupascu, Raluca" userId="68b8499e-70c7-46a5-a7f5-08d4a146f234" providerId="ADAL" clId="{D306BB26-EB9F-4E01-A290-0111A7EB9CD4}" dt="2022-03-09T13:35:47.804" v="31" actId="6264"/>
          <ac:spMkLst>
            <pc:docMk/>
            <pc:sldMk cId="1501677093" sldId="397"/>
            <ac:spMk id="7" creationId="{B89DBEC2-B451-4245-8F0D-04298896FB81}"/>
          </ac:spMkLst>
        </pc:spChg>
        <pc:spChg chg="add del mod">
          <ac:chgData name="Baciu Lupascu, Raluca" userId="68b8499e-70c7-46a5-a7f5-08d4a146f234" providerId="ADAL" clId="{D306BB26-EB9F-4E01-A290-0111A7EB9CD4}" dt="2022-03-09T13:35:47.804" v="31" actId="6264"/>
          <ac:spMkLst>
            <pc:docMk/>
            <pc:sldMk cId="1501677093" sldId="397"/>
            <ac:spMk id="9" creationId="{40EEBBAA-B01D-40B5-B4FC-0DA9CF16A3C5}"/>
          </ac:spMkLst>
        </pc:spChg>
        <pc:spChg chg="add del mod">
          <ac:chgData name="Baciu Lupascu, Raluca" userId="68b8499e-70c7-46a5-a7f5-08d4a146f234" providerId="ADAL" clId="{D306BB26-EB9F-4E01-A290-0111A7EB9CD4}" dt="2022-03-09T13:35:47.804" v="31" actId="6264"/>
          <ac:spMkLst>
            <pc:docMk/>
            <pc:sldMk cId="1501677093" sldId="397"/>
            <ac:spMk id="12" creationId="{B3B6EC54-77E2-4349-8214-23536F56A8C8}"/>
          </ac:spMkLst>
        </pc:spChg>
        <pc:spChg chg="add del mod">
          <ac:chgData name="Baciu Lupascu, Raluca" userId="68b8499e-70c7-46a5-a7f5-08d4a146f234" providerId="ADAL" clId="{D306BB26-EB9F-4E01-A290-0111A7EB9CD4}" dt="2022-03-09T13:35:47.804" v="31" actId="6264"/>
          <ac:spMkLst>
            <pc:docMk/>
            <pc:sldMk cId="1501677093" sldId="397"/>
            <ac:spMk id="13" creationId="{E2C46A9E-BCF2-47F9-B998-02BBEC605090}"/>
          </ac:spMkLst>
        </pc:spChg>
        <pc:spChg chg="add del mod ord">
          <ac:chgData name="Baciu Lupascu, Raluca" userId="68b8499e-70c7-46a5-a7f5-08d4a146f234" providerId="ADAL" clId="{D306BB26-EB9F-4E01-A290-0111A7EB9CD4}" dt="2022-03-09T13:35:48.780" v="438"/>
          <ac:spMkLst>
            <pc:docMk/>
            <pc:sldMk cId="1501677093" sldId="397"/>
            <ac:spMk id="14" creationId="{61701ED0-04DC-4911-9F28-4B069ACF9ACD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15" creationId="{31584C22-B582-4791-A65B-43AEBE8E8C2E}"/>
          </ac:spMkLst>
        </pc:spChg>
        <pc:spChg chg="add del mod">
          <ac:chgData name="Baciu Lupascu, Raluca" userId="68b8499e-70c7-46a5-a7f5-08d4a146f234" providerId="ADAL" clId="{D306BB26-EB9F-4E01-A290-0111A7EB9CD4}" dt="2022-03-09T13:35:56.386" v="2007"/>
          <ac:spMkLst>
            <pc:docMk/>
            <pc:sldMk cId="1501677093" sldId="397"/>
            <ac:spMk id="16" creationId="{C7829B03-FB62-454D-ACB7-FD29A46B2608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17" creationId="{46830716-F022-4EDF-AA55-3DA15125B5E2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18" creationId="{10020532-75B7-4521-BC50-FC337A5230FC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19" creationId="{93110E63-4018-4F10-A954-D647E4895859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1501677093" sldId="397"/>
            <ac:spMk id="20" creationId="{DEFFA49D-1BB8-4B2A-A809-123E198130FD}"/>
          </ac:spMkLst>
        </pc:spChg>
      </pc:sldChg>
      <pc:sldChg chg="addSp delSp modSp del mod modTransition modClrScheme chgLayout modNotes">
        <pc:chgData name="Baciu Lupascu, Raluca" userId="68b8499e-70c7-46a5-a7f5-08d4a146f234" providerId="ADAL" clId="{D306BB26-EB9F-4E01-A290-0111A7EB9CD4}" dt="2022-03-09T14:30:31.996" v="3070" actId="2696"/>
        <pc:sldMkLst>
          <pc:docMk/>
          <pc:sldMk cId="4022433894" sldId="398"/>
        </pc:sldMkLst>
        <pc:spChg chg="mod ord">
          <ac:chgData name="Baciu Lupascu, Raluca" userId="68b8499e-70c7-46a5-a7f5-08d4a146f234" providerId="ADAL" clId="{D306BB26-EB9F-4E01-A290-0111A7EB9CD4}" dt="2022-03-09T13:51:14.794" v="2409" actId="947"/>
          <ac:spMkLst>
            <pc:docMk/>
            <pc:sldMk cId="4022433894" sldId="398"/>
            <ac:spMk id="2" creationId="{AF3D5792-6A0F-455A-A6E4-84FF28CB6812}"/>
          </ac:spMkLst>
        </pc:spChg>
        <pc:spChg chg="add del mod">
          <ac:chgData name="Baciu Lupascu, Raluca" userId="68b8499e-70c7-46a5-a7f5-08d4a146f234" providerId="ADAL" clId="{D306BB26-EB9F-4E01-A290-0111A7EB9CD4}" dt="2022-03-09T13:35:47.881" v="35" actId="6264"/>
          <ac:spMkLst>
            <pc:docMk/>
            <pc:sldMk cId="4022433894" sldId="398"/>
            <ac:spMk id="3" creationId="{576B8065-C091-4BE0-B804-48C07EC8495A}"/>
          </ac:spMkLst>
        </pc:spChg>
        <pc:spChg chg="del mod ord">
          <ac:chgData name="Baciu Lupascu, Raluca" userId="68b8499e-70c7-46a5-a7f5-08d4a146f234" providerId="ADAL" clId="{D306BB26-EB9F-4E01-A290-0111A7EB9CD4}" dt="2022-03-09T13:35:48.818" v="476"/>
          <ac:spMkLst>
            <pc:docMk/>
            <pc:sldMk cId="4022433894" sldId="398"/>
            <ac:spMk id="4" creationId="{865377E1-2771-4DCA-A431-82C71D6E3B45}"/>
          </ac:spMkLst>
        </pc:spChg>
        <pc:spChg chg="del mod ord">
          <ac:chgData name="Baciu Lupascu, Raluca" userId="68b8499e-70c7-46a5-a7f5-08d4a146f234" providerId="ADAL" clId="{D306BB26-EB9F-4E01-A290-0111A7EB9CD4}" dt="2022-03-09T13:35:48.818" v="478"/>
          <ac:spMkLst>
            <pc:docMk/>
            <pc:sldMk cId="4022433894" sldId="398"/>
            <ac:spMk id="5" creationId="{2034AE62-7F9A-4F6C-8582-DCD278D4D87E}"/>
          </ac:spMkLst>
        </pc:spChg>
        <pc:spChg chg="del mod ord">
          <ac:chgData name="Baciu Lupascu, Raluca" userId="68b8499e-70c7-46a5-a7f5-08d4a146f234" providerId="ADAL" clId="{D306BB26-EB9F-4E01-A290-0111A7EB9CD4}" dt="2022-03-09T13:35:48.818" v="477"/>
          <ac:spMkLst>
            <pc:docMk/>
            <pc:sldMk cId="4022433894" sldId="398"/>
            <ac:spMk id="6" creationId="{5AC0C10B-45CA-4AB4-BA69-6E6D628D4833}"/>
          </ac:spMkLst>
        </pc:spChg>
        <pc:spChg chg="mod">
          <ac:chgData name="Baciu Lupascu, Raluca" userId="68b8499e-70c7-46a5-a7f5-08d4a146f234" providerId="ADAL" clId="{D306BB26-EB9F-4E01-A290-0111A7EB9CD4}" dt="2022-03-09T13:35:56.092" v="1640" actId="790"/>
          <ac:spMkLst>
            <pc:docMk/>
            <pc:sldMk cId="4022433894" sldId="398"/>
            <ac:spMk id="10" creationId="{DD6A7356-8D59-43DC-9FE6-0D5684B6753C}"/>
          </ac:spMkLst>
        </pc:spChg>
        <pc:spChg chg="add del mod">
          <ac:chgData name="Baciu Lupascu, Raluca" userId="68b8499e-70c7-46a5-a7f5-08d4a146f234" providerId="ADAL" clId="{D306BB26-EB9F-4E01-A290-0111A7EB9CD4}" dt="2022-03-09T13:35:47.881" v="35" actId="6264"/>
          <ac:spMkLst>
            <pc:docMk/>
            <pc:sldMk cId="4022433894" sldId="398"/>
            <ac:spMk id="11" creationId="{45B627CF-E0F9-4890-96C5-54500B3B4675}"/>
          </ac:spMkLst>
        </pc:spChg>
        <pc:spChg chg="add del mod">
          <ac:chgData name="Baciu Lupascu, Raluca" userId="68b8499e-70c7-46a5-a7f5-08d4a146f234" providerId="ADAL" clId="{D306BB26-EB9F-4E01-A290-0111A7EB9CD4}" dt="2022-03-09T13:35:47.881" v="35" actId="6264"/>
          <ac:spMkLst>
            <pc:docMk/>
            <pc:sldMk cId="4022433894" sldId="398"/>
            <ac:spMk id="12" creationId="{A02AF978-3BBD-4131-A3FF-081D6347CAFF}"/>
          </ac:spMkLst>
        </pc:spChg>
        <pc:spChg chg="add del mod">
          <ac:chgData name="Baciu Lupascu, Raluca" userId="68b8499e-70c7-46a5-a7f5-08d4a146f234" providerId="ADAL" clId="{D306BB26-EB9F-4E01-A290-0111A7EB9CD4}" dt="2022-03-09T13:35:47.881" v="35" actId="6264"/>
          <ac:spMkLst>
            <pc:docMk/>
            <pc:sldMk cId="4022433894" sldId="398"/>
            <ac:spMk id="13" creationId="{CB6212AE-14C2-4157-A371-47BF3B827D73}"/>
          </ac:spMkLst>
        </pc:spChg>
        <pc:spChg chg="add del mod ord">
          <ac:chgData name="Baciu Lupascu, Raluca" userId="68b8499e-70c7-46a5-a7f5-08d4a146f234" providerId="ADAL" clId="{D306BB26-EB9F-4E01-A290-0111A7EB9CD4}" dt="2022-03-09T13:35:48.829" v="483"/>
          <ac:spMkLst>
            <pc:docMk/>
            <pc:sldMk cId="4022433894" sldId="398"/>
            <ac:spMk id="14" creationId="{C1E1871B-571C-41E0-80F1-9DA6872A955F}"/>
          </ac:spMkLst>
        </pc:spChg>
        <pc:spChg chg="add del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22433894" sldId="398"/>
            <ac:spMk id="15" creationId="{19C73902-CE56-414A-9888-1257828411C8}"/>
          </ac:spMkLst>
        </pc:spChg>
        <pc:spChg chg="add del mod">
          <ac:chgData name="Baciu Lupascu, Raluca" userId="68b8499e-70c7-46a5-a7f5-08d4a146f234" providerId="ADAL" clId="{D306BB26-EB9F-4E01-A290-0111A7EB9CD4}" dt="2022-03-09T13:35:56.394" v="2027"/>
          <ac:spMkLst>
            <pc:docMk/>
            <pc:sldMk cId="4022433894" sldId="398"/>
            <ac:spMk id="16" creationId="{E663CE43-0E54-441D-9D86-D44896DDB9B5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22433894" sldId="398"/>
            <ac:spMk id="17" creationId="{4B2CB283-9E6D-4FCE-B468-D9F80AFA4646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22433894" sldId="398"/>
            <ac:spMk id="18" creationId="{91EDCE00-826B-44B1-9CED-9865E1676913}"/>
          </ac:spMkLst>
        </pc:spChg>
        <pc:spChg chg="add mod ord">
          <ac:chgData name="Baciu Lupascu, Raluca" userId="68b8499e-70c7-46a5-a7f5-08d4a146f234" providerId="ADAL" clId="{D306BB26-EB9F-4E01-A290-0111A7EB9CD4}" dt="2022-03-09T13:50:43.807" v="2314" actId="700"/>
          <ac:spMkLst>
            <pc:docMk/>
            <pc:sldMk cId="4022433894" sldId="398"/>
            <ac:spMk id="19" creationId="{F6E2E0D0-0841-4273-8EBD-DE411722FBE4}"/>
          </ac:spMkLst>
        </pc:spChg>
        <pc:spChg chg="add del mod ord">
          <ac:chgData name="Baciu Lupascu, Raluca" userId="68b8499e-70c7-46a5-a7f5-08d4a146f234" providerId="ADAL" clId="{D306BB26-EB9F-4E01-A290-0111A7EB9CD4}" dt="2022-03-09T14:30:11.536" v="3069" actId="478"/>
          <ac:spMkLst>
            <pc:docMk/>
            <pc:sldMk cId="4022433894" sldId="398"/>
            <ac:spMk id="20" creationId="{16FD0ADE-554E-4641-BE0D-DA001062EDEF}"/>
          </ac:spMkLst>
        </pc:spChg>
      </pc:sldChg>
      <pc:sldChg chg="addSp delSp modSp add del mod modClrScheme chgLayout">
        <pc:chgData name="Baciu Lupascu, Raluca" userId="68b8499e-70c7-46a5-a7f5-08d4a146f234" providerId="ADAL" clId="{D306BB26-EB9F-4E01-A290-0111A7EB9CD4}" dt="2022-03-09T13:56:36.891" v="2520" actId="20577"/>
        <pc:sldMkLst>
          <pc:docMk/>
          <pc:sldMk cId="436141959" sldId="399"/>
        </pc:sldMkLst>
        <pc:spChg chg="add del mod ord">
          <ac:chgData name="Baciu Lupascu, Raluca" userId="68b8499e-70c7-46a5-a7f5-08d4a146f234" providerId="ADAL" clId="{D306BB26-EB9F-4E01-A290-0111A7EB9CD4}" dt="2022-03-09T13:51:14.850" v="2512" actId="207"/>
          <ac:spMkLst>
            <pc:docMk/>
            <pc:sldMk cId="436141959" sldId="399"/>
            <ac:spMk id="2" creationId="{E0374993-A95E-4E4D-8F9A-A14E68E7E044}"/>
          </ac:spMkLst>
        </pc:spChg>
        <pc:spChg chg="mod ord">
          <ac:chgData name="Baciu Lupascu, Raluca" userId="68b8499e-70c7-46a5-a7f5-08d4a146f234" providerId="ADAL" clId="{D306BB26-EB9F-4E01-A290-0111A7EB9CD4}" dt="2022-03-09T13:56:36.891" v="2520" actId="20577"/>
          <ac:spMkLst>
            <pc:docMk/>
            <pc:sldMk cId="436141959" sldId="399"/>
            <ac:spMk id="3" creationId="{955ED312-0D02-425F-A05D-9C76DA8BBA88}"/>
          </ac:spMkLst>
        </pc:spChg>
        <pc:spChg chg="mod ord">
          <ac:chgData name="Baciu Lupascu, Raluca" userId="68b8499e-70c7-46a5-a7f5-08d4a146f234" providerId="ADAL" clId="{D306BB26-EB9F-4E01-A290-0111A7EB9CD4}" dt="2022-03-09T13:44:56.793" v="2203" actId="700"/>
          <ac:spMkLst>
            <pc:docMk/>
            <pc:sldMk cId="436141959" sldId="399"/>
            <ac:spMk id="4" creationId="{DEEA03CC-8968-4D3C-B2FE-67426E3DB63A}"/>
          </ac:spMkLst>
        </pc:spChg>
        <pc:spChg chg="mod ord">
          <ac:chgData name="Baciu Lupascu, Raluca" userId="68b8499e-70c7-46a5-a7f5-08d4a146f234" providerId="ADAL" clId="{D306BB26-EB9F-4E01-A290-0111A7EB9CD4}" dt="2022-03-09T13:44:56.793" v="2203" actId="700"/>
          <ac:spMkLst>
            <pc:docMk/>
            <pc:sldMk cId="436141959" sldId="399"/>
            <ac:spMk id="5" creationId="{E436EE44-2845-478F-A113-D163151DEF9E}"/>
          </ac:spMkLst>
        </pc:spChg>
        <pc:spChg chg="mod ord">
          <ac:chgData name="Baciu Lupascu, Raluca" userId="68b8499e-70c7-46a5-a7f5-08d4a146f234" providerId="ADAL" clId="{D306BB26-EB9F-4E01-A290-0111A7EB9CD4}" dt="2022-03-09T13:44:56.793" v="2203" actId="700"/>
          <ac:spMkLst>
            <pc:docMk/>
            <pc:sldMk cId="436141959" sldId="399"/>
            <ac:spMk id="6" creationId="{C188B791-7A97-4194-8E76-9E06385AF09D}"/>
          </ac:spMkLst>
        </pc:spChg>
        <pc:picChg chg="mod">
          <ac:chgData name="Baciu Lupascu, Raluca" userId="68b8499e-70c7-46a5-a7f5-08d4a146f234" providerId="ADAL" clId="{D306BB26-EB9F-4E01-A290-0111A7EB9CD4}" dt="2022-03-09T13:49:06.833" v="2293" actId="1036"/>
          <ac:picMkLst>
            <pc:docMk/>
            <pc:sldMk cId="436141959" sldId="399"/>
            <ac:picMk id="7" creationId="{3FEB4B72-0D22-4545-A5DA-5C07C7D2D10A}"/>
          </ac:picMkLst>
        </pc:picChg>
        <pc:picChg chg="mod">
          <ac:chgData name="Baciu Lupascu, Raluca" userId="68b8499e-70c7-46a5-a7f5-08d4a146f234" providerId="ADAL" clId="{D306BB26-EB9F-4E01-A290-0111A7EB9CD4}" dt="2022-03-09T13:49:06.833" v="2293" actId="1036"/>
          <ac:picMkLst>
            <pc:docMk/>
            <pc:sldMk cId="436141959" sldId="399"/>
            <ac:picMk id="8" creationId="{9AF0BDAD-8CFA-45F8-A8BD-65D899684F11}"/>
          </ac:picMkLst>
        </pc:picChg>
        <pc:picChg chg="mod">
          <ac:chgData name="Baciu Lupascu, Raluca" userId="68b8499e-70c7-46a5-a7f5-08d4a146f234" providerId="ADAL" clId="{D306BB26-EB9F-4E01-A290-0111A7EB9CD4}" dt="2022-03-09T13:49:06.833" v="2293" actId="1036"/>
          <ac:picMkLst>
            <pc:docMk/>
            <pc:sldMk cId="436141959" sldId="399"/>
            <ac:picMk id="9" creationId="{FCD25647-7166-486C-9382-40FE91833DF4}"/>
          </ac:picMkLst>
        </pc:picChg>
        <pc:picChg chg="mod">
          <ac:chgData name="Baciu Lupascu, Raluca" userId="68b8499e-70c7-46a5-a7f5-08d4a146f234" providerId="ADAL" clId="{D306BB26-EB9F-4E01-A290-0111A7EB9CD4}" dt="2022-03-09T13:49:06.833" v="2293" actId="1036"/>
          <ac:picMkLst>
            <pc:docMk/>
            <pc:sldMk cId="436141959" sldId="399"/>
            <ac:picMk id="10" creationId="{0296CF64-9022-4BCF-AD4D-5411B6889853}"/>
          </ac:picMkLst>
        </pc:picChg>
      </pc:sldChg>
      <pc:sldChg chg="addSp delSp modSp add del mod modTransition chgLayout">
        <pc:chgData name="Baciu Lupascu, Raluca" userId="68b8499e-70c7-46a5-a7f5-08d4a146f234" providerId="ADAL" clId="{D306BB26-EB9F-4E01-A290-0111A7EB9CD4}" dt="2022-03-09T13:35:49.316" v="911" actId="2696"/>
        <pc:sldMkLst>
          <pc:docMk/>
          <pc:sldMk cId="3843961132" sldId="399"/>
        </pc:sldMkLst>
        <pc:spChg chg="del mod">
          <ac:chgData name="Baciu Lupascu, Raluca" userId="68b8499e-70c7-46a5-a7f5-08d4a146f234" providerId="ADAL" clId="{D306BB26-EB9F-4E01-A290-0111A7EB9CD4}" dt="2022-03-09T13:35:48.119" v="48" actId="6264"/>
          <ac:spMkLst>
            <pc:docMk/>
            <pc:sldMk cId="3843961132" sldId="399"/>
            <ac:spMk id="2" creationId="{8F9438C9-C8D0-4AA0-94F6-26BE610BC763}"/>
          </ac:spMkLst>
        </pc:spChg>
        <pc:spChg chg="del mod">
          <ac:chgData name="Baciu Lupascu, Raluca" userId="68b8499e-70c7-46a5-a7f5-08d4a146f234" providerId="ADAL" clId="{D306BB26-EB9F-4E01-A290-0111A7EB9CD4}" dt="2022-03-09T13:35:48.119" v="48" actId="6264"/>
          <ac:spMkLst>
            <pc:docMk/>
            <pc:sldMk cId="3843961132" sldId="399"/>
            <ac:spMk id="3" creationId="{1843EC19-D16F-4BEA-81A4-5A6C26A6D26B}"/>
          </ac:spMkLst>
        </pc:spChg>
        <pc:spChg chg="add del mod or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4" creationId="{E81B8F8B-F5CC-4FE7-8A54-D3CA94B0DE24}"/>
          </ac:spMkLst>
        </pc:spChg>
        <pc:spChg chg="add del mod or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5" creationId="{F2988FF9-F27A-471A-8313-B69CC4262840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6" creationId="{7EDEB6B3-E9DC-43CA-9A75-D21A3B9A30E6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7" creationId="{6166D8C4-E0C3-425F-9F17-A09391737DD8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8" creationId="{7E2B1840-85F6-46DE-8400-843C4E54885E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9" creationId="{8D29F859-930A-4946-B9F6-E81DF8500163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10" creationId="{09E54E1C-D386-4EED-9EE1-2E17CF6F50BA}"/>
          </ac:spMkLst>
        </pc:spChg>
        <pc:spChg chg="add mod">
          <ac:chgData name="Baciu Lupascu, Raluca" userId="68b8499e-70c7-46a5-a7f5-08d4a146f234" providerId="ADAL" clId="{D306BB26-EB9F-4E01-A290-0111A7EB9CD4}" dt="2022-03-09T13:35:49" v="633"/>
          <ac:spMkLst>
            <pc:docMk/>
            <pc:sldMk cId="3843961132" sldId="399"/>
            <ac:spMk id="11" creationId="{CFE362B2-70A2-46EA-BF9F-927D018D74E4}"/>
          </ac:spMkLst>
        </pc:spChg>
      </pc:sldChg>
      <pc:sldChg chg="add del">
        <pc:chgData name="Baciu Lupascu, Raluca" userId="68b8499e-70c7-46a5-a7f5-08d4a146f234" providerId="ADAL" clId="{D306BB26-EB9F-4E01-A290-0111A7EB9CD4}" dt="2022-03-09T13:35:48.154" v="56" actId="2696"/>
        <pc:sldMkLst>
          <pc:docMk/>
          <pc:sldMk cId="119684867" sldId="400"/>
        </pc:sldMkLst>
      </pc:sldChg>
      <pc:sldChg chg="add del">
        <pc:chgData name="Baciu Lupascu, Raluca" userId="68b8499e-70c7-46a5-a7f5-08d4a146f234" providerId="ADAL" clId="{D306BB26-EB9F-4E01-A290-0111A7EB9CD4}" dt="2022-03-09T13:35:48.260" v="82" actId="2696"/>
        <pc:sldMkLst>
          <pc:docMk/>
          <pc:sldMk cId="127074253" sldId="400"/>
        </pc:sldMkLst>
      </pc:sldChg>
      <pc:sldChg chg="add del">
        <pc:chgData name="Baciu Lupascu, Raluca" userId="68b8499e-70c7-46a5-a7f5-08d4a146f234" providerId="ADAL" clId="{D306BB26-EB9F-4E01-A290-0111A7EB9CD4}" dt="2022-03-09T13:35:48.317" v="96" actId="2696"/>
        <pc:sldMkLst>
          <pc:docMk/>
          <pc:sldMk cId="889043256" sldId="400"/>
        </pc:sldMkLst>
      </pc:sldChg>
      <pc:sldChg chg="add del">
        <pc:chgData name="Baciu Lupascu, Raluca" userId="68b8499e-70c7-46a5-a7f5-08d4a146f234" providerId="ADAL" clId="{D306BB26-EB9F-4E01-A290-0111A7EB9CD4}" dt="2022-03-09T13:35:48.170" v="60" actId="2696"/>
        <pc:sldMkLst>
          <pc:docMk/>
          <pc:sldMk cId="922577303" sldId="400"/>
        </pc:sldMkLst>
      </pc:sldChg>
      <pc:sldChg chg="add del">
        <pc:chgData name="Baciu Lupascu, Raluca" userId="68b8499e-70c7-46a5-a7f5-08d4a146f234" providerId="ADAL" clId="{D306BB26-EB9F-4E01-A290-0111A7EB9CD4}" dt="2022-03-09T13:35:48.302" v="92" actId="2696"/>
        <pc:sldMkLst>
          <pc:docMk/>
          <pc:sldMk cId="1051575682" sldId="400"/>
        </pc:sldMkLst>
      </pc:sldChg>
      <pc:sldChg chg="add del">
        <pc:chgData name="Baciu Lupascu, Raluca" userId="68b8499e-70c7-46a5-a7f5-08d4a146f234" providerId="ADAL" clId="{D306BB26-EB9F-4E01-A290-0111A7EB9CD4}" dt="2022-03-09T13:35:48.267" v="84" actId="2696"/>
        <pc:sldMkLst>
          <pc:docMk/>
          <pc:sldMk cId="1234308321" sldId="400"/>
        </pc:sldMkLst>
      </pc:sldChg>
      <pc:sldChg chg="add del">
        <pc:chgData name="Baciu Lupascu, Raluca" userId="68b8499e-70c7-46a5-a7f5-08d4a146f234" providerId="ADAL" clId="{D306BB26-EB9F-4E01-A290-0111A7EB9CD4}" dt="2022-03-09T13:35:48.162" v="58" actId="2696"/>
        <pc:sldMkLst>
          <pc:docMk/>
          <pc:sldMk cId="1271019563" sldId="400"/>
        </pc:sldMkLst>
      </pc:sldChg>
      <pc:sldChg chg="add del">
        <pc:chgData name="Baciu Lupascu, Raluca" userId="68b8499e-70c7-46a5-a7f5-08d4a146f234" providerId="ADAL" clId="{D306BB26-EB9F-4E01-A290-0111A7EB9CD4}" dt="2022-03-09T13:35:48.252" v="80" actId="2696"/>
        <pc:sldMkLst>
          <pc:docMk/>
          <pc:sldMk cId="1516406733" sldId="400"/>
        </pc:sldMkLst>
      </pc:sldChg>
      <pc:sldChg chg="add del">
        <pc:chgData name="Baciu Lupascu, Raluca" userId="68b8499e-70c7-46a5-a7f5-08d4a146f234" providerId="ADAL" clId="{D306BB26-EB9F-4E01-A290-0111A7EB9CD4}" dt="2022-03-09T13:35:48.138" v="52" actId="2696"/>
        <pc:sldMkLst>
          <pc:docMk/>
          <pc:sldMk cId="1562384311" sldId="400"/>
        </pc:sldMkLst>
      </pc:sldChg>
      <pc:sldChg chg="add del">
        <pc:chgData name="Baciu Lupascu, Raluca" userId="68b8499e-70c7-46a5-a7f5-08d4a146f234" providerId="ADAL" clId="{D306BB26-EB9F-4E01-A290-0111A7EB9CD4}" dt="2022-03-09T13:35:48.244" v="78" actId="2696"/>
        <pc:sldMkLst>
          <pc:docMk/>
          <pc:sldMk cId="2213902329" sldId="400"/>
        </pc:sldMkLst>
      </pc:sldChg>
      <pc:sldChg chg="add del">
        <pc:chgData name="Baciu Lupascu, Raluca" userId="68b8499e-70c7-46a5-a7f5-08d4a146f234" providerId="ADAL" clId="{D306BB26-EB9F-4E01-A290-0111A7EB9CD4}" dt="2022-03-09T13:35:48.235" v="76" actId="2696"/>
        <pc:sldMkLst>
          <pc:docMk/>
          <pc:sldMk cId="2222499204" sldId="400"/>
        </pc:sldMkLst>
      </pc:sldChg>
      <pc:sldChg chg="add del">
        <pc:chgData name="Baciu Lupascu, Raluca" userId="68b8499e-70c7-46a5-a7f5-08d4a146f234" providerId="ADAL" clId="{D306BB26-EB9F-4E01-A290-0111A7EB9CD4}" dt="2022-03-09T13:35:48.218" v="72" actId="2696"/>
        <pc:sldMkLst>
          <pc:docMk/>
          <pc:sldMk cId="2278117036" sldId="400"/>
        </pc:sldMkLst>
      </pc:sldChg>
      <pc:sldChg chg="add del">
        <pc:chgData name="Baciu Lupascu, Raluca" userId="68b8499e-70c7-46a5-a7f5-08d4a146f234" providerId="ADAL" clId="{D306BB26-EB9F-4E01-A290-0111A7EB9CD4}" dt="2022-03-09T13:35:48.277" v="86" actId="2696"/>
        <pc:sldMkLst>
          <pc:docMk/>
          <pc:sldMk cId="2537263755" sldId="400"/>
        </pc:sldMkLst>
      </pc:sldChg>
      <pc:sldChg chg="add del">
        <pc:chgData name="Baciu Lupascu, Raluca" userId="68b8499e-70c7-46a5-a7f5-08d4a146f234" providerId="ADAL" clId="{D306BB26-EB9F-4E01-A290-0111A7EB9CD4}" dt="2022-03-09T13:35:48.227" v="74" actId="2696"/>
        <pc:sldMkLst>
          <pc:docMk/>
          <pc:sldMk cId="2603931928" sldId="400"/>
        </pc:sldMkLst>
      </pc:sldChg>
      <pc:sldChg chg="add del">
        <pc:chgData name="Baciu Lupascu, Raluca" userId="68b8499e-70c7-46a5-a7f5-08d4a146f234" providerId="ADAL" clId="{D306BB26-EB9F-4E01-A290-0111A7EB9CD4}" dt="2022-03-09T13:35:48.194" v="66" actId="2696"/>
        <pc:sldMkLst>
          <pc:docMk/>
          <pc:sldMk cId="2914439373" sldId="400"/>
        </pc:sldMkLst>
      </pc:sldChg>
      <pc:sldChg chg="add del">
        <pc:chgData name="Baciu Lupascu, Raluca" userId="68b8499e-70c7-46a5-a7f5-08d4a146f234" providerId="ADAL" clId="{D306BB26-EB9F-4E01-A290-0111A7EB9CD4}" dt="2022-03-09T13:35:48.186" v="64" actId="2696"/>
        <pc:sldMkLst>
          <pc:docMk/>
          <pc:sldMk cId="3099447964" sldId="400"/>
        </pc:sldMkLst>
      </pc:sldChg>
      <pc:sldChg chg="addSp delSp modSp add mod modClrScheme chgLayout">
        <pc:chgData name="Baciu Lupascu, Raluca" userId="68b8499e-70c7-46a5-a7f5-08d4a146f234" providerId="ADAL" clId="{D306BB26-EB9F-4E01-A290-0111A7EB9CD4}" dt="2022-03-09T13:51:14.762" v="2367" actId="947"/>
        <pc:sldMkLst>
          <pc:docMk/>
          <pc:sldMk cId="3183375760" sldId="400"/>
        </pc:sldMkLst>
        <pc:spChg chg="mod ord">
          <ac:chgData name="Baciu Lupascu, Raluca" userId="68b8499e-70c7-46a5-a7f5-08d4a146f234" providerId="ADAL" clId="{D306BB26-EB9F-4E01-A290-0111A7EB9CD4}" dt="2022-03-09T13:51:14.762" v="2367" actId="947"/>
          <ac:spMkLst>
            <pc:docMk/>
            <pc:sldMk cId="3183375760" sldId="400"/>
            <ac:spMk id="2" creationId="{409D53E8-EED6-45C9-A0D9-87F93495102A}"/>
          </ac:spMkLst>
        </pc:spChg>
        <pc:spChg chg="mod ord">
          <ac:chgData name="Baciu Lupascu, Raluca" userId="68b8499e-70c7-46a5-a7f5-08d4a146f234" providerId="ADAL" clId="{D306BB26-EB9F-4E01-A290-0111A7EB9CD4}" dt="2022-03-09T13:48:43.540" v="2289" actId="700"/>
          <ac:spMkLst>
            <pc:docMk/>
            <pc:sldMk cId="3183375760" sldId="400"/>
            <ac:spMk id="3" creationId="{5FE71C23-0667-491A-A1BD-0044E329EB31}"/>
          </ac:spMkLst>
        </pc:spChg>
        <pc:spChg chg="mod ord">
          <ac:chgData name="Baciu Lupascu, Raluca" userId="68b8499e-70c7-46a5-a7f5-08d4a146f234" providerId="ADAL" clId="{D306BB26-EB9F-4E01-A290-0111A7EB9CD4}" dt="2022-03-09T13:48:43.540" v="2289" actId="700"/>
          <ac:spMkLst>
            <pc:docMk/>
            <pc:sldMk cId="3183375760" sldId="400"/>
            <ac:spMk id="4" creationId="{758D2EDE-3F34-4A06-A660-8A4880C89E61}"/>
          </ac:spMkLst>
        </pc:spChg>
        <pc:spChg chg="mod ord">
          <ac:chgData name="Baciu Lupascu, Raluca" userId="68b8499e-70c7-46a5-a7f5-08d4a146f234" providerId="ADAL" clId="{D306BB26-EB9F-4E01-A290-0111A7EB9CD4}" dt="2022-03-09T13:48:43.540" v="2289" actId="700"/>
          <ac:spMkLst>
            <pc:docMk/>
            <pc:sldMk cId="3183375760" sldId="400"/>
            <ac:spMk id="5" creationId="{D8404FFE-0328-44B3-89CA-D12D6E7EC43E}"/>
          </ac:spMkLst>
        </pc:spChg>
        <pc:spChg chg="mod ord">
          <ac:chgData name="Baciu Lupascu, Raluca" userId="68b8499e-70c7-46a5-a7f5-08d4a146f234" providerId="ADAL" clId="{D306BB26-EB9F-4E01-A290-0111A7EB9CD4}" dt="2022-03-09T13:48:43.540" v="2289" actId="700"/>
          <ac:spMkLst>
            <pc:docMk/>
            <pc:sldMk cId="3183375760" sldId="400"/>
            <ac:spMk id="6" creationId="{0F6FDE8D-BB89-4855-8BF2-140F8C836AF5}"/>
          </ac:spMkLst>
        </pc:spChg>
        <pc:spChg chg="add del mod ord">
          <ac:chgData name="Baciu Lupascu, Raluca" userId="68b8499e-70c7-46a5-a7f5-08d4a146f234" providerId="ADAL" clId="{D306BB26-EB9F-4E01-A290-0111A7EB9CD4}" dt="2022-03-09T13:47:50.285" v="2277" actId="478"/>
          <ac:spMkLst>
            <pc:docMk/>
            <pc:sldMk cId="3183375760" sldId="400"/>
            <ac:spMk id="9" creationId="{42D8E5B2-FC39-4F71-8A1E-15A02D80CC97}"/>
          </ac:spMkLst>
        </pc:spChg>
        <pc:picChg chg="mod">
          <ac:chgData name="Baciu Lupascu, Raluca" userId="68b8499e-70c7-46a5-a7f5-08d4a146f234" providerId="ADAL" clId="{D306BB26-EB9F-4E01-A290-0111A7EB9CD4}" dt="2022-03-09T13:48:20.675" v="2287" actId="1076"/>
          <ac:picMkLst>
            <pc:docMk/>
            <pc:sldMk cId="3183375760" sldId="400"/>
            <ac:picMk id="7" creationId="{B4BC0E86-076E-4E9A-8323-7F3FC80A08A7}"/>
          </ac:picMkLst>
        </pc:picChg>
        <pc:picChg chg="mod">
          <ac:chgData name="Baciu Lupascu, Raluca" userId="68b8499e-70c7-46a5-a7f5-08d4a146f234" providerId="ADAL" clId="{D306BB26-EB9F-4E01-A290-0111A7EB9CD4}" dt="2022-03-09T13:48:22.078" v="2288" actId="1076"/>
          <ac:picMkLst>
            <pc:docMk/>
            <pc:sldMk cId="3183375760" sldId="400"/>
            <ac:picMk id="8" creationId="{8A670C39-5478-49BA-8B70-4C9BA9650E87}"/>
          </ac:picMkLst>
        </pc:picChg>
      </pc:sldChg>
      <pc:sldChg chg="add del">
        <pc:chgData name="Baciu Lupascu, Raluca" userId="68b8499e-70c7-46a5-a7f5-08d4a146f234" providerId="ADAL" clId="{D306BB26-EB9F-4E01-A290-0111A7EB9CD4}" dt="2022-03-09T13:35:48.210" v="70" actId="2696"/>
        <pc:sldMkLst>
          <pc:docMk/>
          <pc:sldMk cId="3195871635" sldId="400"/>
        </pc:sldMkLst>
      </pc:sldChg>
      <pc:sldChg chg="add del">
        <pc:chgData name="Baciu Lupascu, Raluca" userId="68b8499e-70c7-46a5-a7f5-08d4a146f234" providerId="ADAL" clId="{D306BB26-EB9F-4E01-A290-0111A7EB9CD4}" dt="2022-03-09T13:35:48.309" v="94" actId="2696"/>
        <pc:sldMkLst>
          <pc:docMk/>
          <pc:sldMk cId="3227148626" sldId="400"/>
        </pc:sldMkLst>
      </pc:sldChg>
      <pc:sldChg chg="add del">
        <pc:chgData name="Baciu Lupascu, Raluca" userId="68b8499e-70c7-46a5-a7f5-08d4a146f234" providerId="ADAL" clId="{D306BB26-EB9F-4E01-A290-0111A7EB9CD4}" dt="2022-03-09T13:35:48.129" v="50" actId="2696"/>
        <pc:sldMkLst>
          <pc:docMk/>
          <pc:sldMk cId="3238435956" sldId="400"/>
        </pc:sldMkLst>
      </pc:sldChg>
      <pc:sldChg chg="add del">
        <pc:chgData name="Baciu Lupascu, Raluca" userId="68b8499e-70c7-46a5-a7f5-08d4a146f234" providerId="ADAL" clId="{D306BB26-EB9F-4E01-A290-0111A7EB9CD4}" dt="2022-03-09T13:35:48.284" v="88" actId="2696"/>
        <pc:sldMkLst>
          <pc:docMk/>
          <pc:sldMk cId="3384736947" sldId="400"/>
        </pc:sldMkLst>
      </pc:sldChg>
      <pc:sldChg chg="add del">
        <pc:chgData name="Baciu Lupascu, Raluca" userId="68b8499e-70c7-46a5-a7f5-08d4a146f234" providerId="ADAL" clId="{D306BB26-EB9F-4E01-A290-0111A7EB9CD4}" dt="2022-03-09T13:35:48.203" v="68" actId="2696"/>
        <pc:sldMkLst>
          <pc:docMk/>
          <pc:sldMk cId="3476271806" sldId="400"/>
        </pc:sldMkLst>
      </pc:sldChg>
      <pc:sldChg chg="add del">
        <pc:chgData name="Baciu Lupascu, Raluca" userId="68b8499e-70c7-46a5-a7f5-08d4a146f234" providerId="ADAL" clId="{D306BB26-EB9F-4E01-A290-0111A7EB9CD4}" dt="2022-03-09T13:35:48.294" v="90" actId="2696"/>
        <pc:sldMkLst>
          <pc:docMk/>
          <pc:sldMk cId="3640849545" sldId="400"/>
        </pc:sldMkLst>
      </pc:sldChg>
      <pc:sldChg chg="add del">
        <pc:chgData name="Baciu Lupascu, Raluca" userId="68b8499e-70c7-46a5-a7f5-08d4a146f234" providerId="ADAL" clId="{D306BB26-EB9F-4E01-A290-0111A7EB9CD4}" dt="2022-03-09T13:35:48.146" v="54" actId="2696"/>
        <pc:sldMkLst>
          <pc:docMk/>
          <pc:sldMk cId="3675401566" sldId="400"/>
        </pc:sldMkLst>
      </pc:sldChg>
      <pc:sldChg chg="add del">
        <pc:chgData name="Baciu Lupascu, Raluca" userId="68b8499e-70c7-46a5-a7f5-08d4a146f234" providerId="ADAL" clId="{D306BB26-EB9F-4E01-A290-0111A7EB9CD4}" dt="2022-03-09T13:35:48.178" v="62" actId="2696"/>
        <pc:sldMkLst>
          <pc:docMk/>
          <pc:sldMk cId="3969412360" sldId="400"/>
        </pc:sldMkLst>
      </pc:sldChg>
      <pc:sldChg chg="add del">
        <pc:chgData name="Baciu Lupascu, Raluca" userId="68b8499e-70c7-46a5-a7f5-08d4a146f234" providerId="ADAL" clId="{D306BB26-EB9F-4E01-A290-0111A7EB9CD4}" dt="2022-03-09T14:04:48.213" v="2610"/>
        <pc:sldMkLst>
          <pc:docMk/>
          <pc:sldMk cId="256227534" sldId="401"/>
        </pc:sldMkLst>
      </pc:sldChg>
      <pc:sldChg chg="modSp add del mod">
        <pc:chgData name="Baciu Lupascu, Raluca" userId="68b8499e-70c7-46a5-a7f5-08d4a146f234" providerId="ADAL" clId="{D306BB26-EB9F-4E01-A290-0111A7EB9CD4}" dt="2022-03-09T14:04:56.565" v="2622" actId="2696"/>
        <pc:sldMkLst>
          <pc:docMk/>
          <pc:sldMk cId="3075980338" sldId="401"/>
        </pc:sldMkLst>
        <pc:spChg chg="mod">
          <ac:chgData name="Baciu Lupascu, Raluca" userId="68b8499e-70c7-46a5-a7f5-08d4a146f234" providerId="ADAL" clId="{D306BB26-EB9F-4E01-A290-0111A7EB9CD4}" dt="2022-03-09T14:04:56.178" v="2620" actId="12"/>
          <ac:spMkLst>
            <pc:docMk/>
            <pc:sldMk cId="3075980338" sldId="401"/>
            <ac:spMk id="2" creationId="{1EE0F56A-CABB-46CC-B741-B7A3F97166F7}"/>
          </ac:spMkLst>
        </pc:spChg>
      </pc:sldChg>
      <pc:sldChg chg="modSp add del mod">
        <pc:chgData name="Baciu Lupascu, Raluca" userId="68b8499e-70c7-46a5-a7f5-08d4a146f234" providerId="ADAL" clId="{D306BB26-EB9F-4E01-A290-0111A7EB9CD4}" dt="2022-03-09T14:04:57.940" v="2628" actId="2696"/>
        <pc:sldMkLst>
          <pc:docMk/>
          <pc:sldMk cId="1972764654" sldId="402"/>
        </pc:sldMkLst>
        <pc:spChg chg="mod">
          <ac:chgData name="Baciu Lupascu, Raluca" userId="68b8499e-70c7-46a5-a7f5-08d4a146f234" providerId="ADAL" clId="{D306BB26-EB9F-4E01-A290-0111A7EB9CD4}" dt="2022-03-09T14:04:57.544" v="2626" actId="12"/>
          <ac:spMkLst>
            <pc:docMk/>
            <pc:sldMk cId="1972764654" sldId="402"/>
            <ac:spMk id="2" creationId="{1EE0F56A-CABB-46CC-B741-B7A3F97166F7}"/>
          </ac:spMkLst>
        </pc:spChg>
      </pc:sldChg>
      <pc:sldChg chg="modSp add mod">
        <pc:chgData name="Baciu Lupascu, Raluca" userId="68b8499e-70c7-46a5-a7f5-08d4a146f234" providerId="ADAL" clId="{D306BB26-EB9F-4E01-A290-0111A7EB9CD4}" dt="2022-03-09T14:05:01.752" v="2629" actId="20577"/>
        <pc:sldMkLst>
          <pc:docMk/>
          <pc:sldMk cId="621985575" sldId="403"/>
        </pc:sldMkLst>
        <pc:spChg chg="mod">
          <ac:chgData name="Baciu Lupascu, Raluca" userId="68b8499e-70c7-46a5-a7f5-08d4a146f234" providerId="ADAL" clId="{D306BB26-EB9F-4E01-A290-0111A7EB9CD4}" dt="2022-03-09T14:05:01.752" v="2629" actId="20577"/>
          <ac:spMkLst>
            <pc:docMk/>
            <pc:sldMk cId="621985575" sldId="403"/>
            <ac:spMk id="2" creationId="{1EE0F56A-CABB-46CC-B741-B7A3F97166F7}"/>
          </ac:spMkLst>
        </pc:spChg>
      </pc:sldChg>
      <pc:sldChg chg="modSp add mod">
        <pc:chgData name="Baciu Lupascu, Raluca" userId="68b8499e-70c7-46a5-a7f5-08d4a146f234" providerId="ADAL" clId="{D306BB26-EB9F-4E01-A290-0111A7EB9CD4}" dt="2022-03-09T14:06:07.454" v="2647" actId="14100"/>
        <pc:sldMkLst>
          <pc:docMk/>
          <pc:sldMk cId="3277503521" sldId="404"/>
        </pc:sldMkLst>
        <pc:spChg chg="mod">
          <ac:chgData name="Baciu Lupascu, Raluca" userId="68b8499e-70c7-46a5-a7f5-08d4a146f234" providerId="ADAL" clId="{D306BB26-EB9F-4E01-A290-0111A7EB9CD4}" dt="2022-03-09T14:05:50.938" v="2641" actId="6549"/>
          <ac:spMkLst>
            <pc:docMk/>
            <pc:sldMk cId="3277503521" sldId="404"/>
            <ac:spMk id="2" creationId="{409D53E8-EED6-45C9-A0D9-87F93495102A}"/>
          </ac:spMkLst>
        </pc:spChg>
        <pc:picChg chg="mod">
          <ac:chgData name="Baciu Lupascu, Raluca" userId="68b8499e-70c7-46a5-a7f5-08d4a146f234" providerId="ADAL" clId="{D306BB26-EB9F-4E01-A290-0111A7EB9CD4}" dt="2022-03-09T14:06:07.454" v="2647" actId="14100"/>
          <ac:picMkLst>
            <pc:docMk/>
            <pc:sldMk cId="3277503521" sldId="404"/>
            <ac:picMk id="7" creationId="{B4BC0E86-076E-4E9A-8323-7F3FC80A08A7}"/>
          </ac:picMkLst>
        </pc:picChg>
        <pc:picChg chg="mod">
          <ac:chgData name="Baciu Lupascu, Raluca" userId="68b8499e-70c7-46a5-a7f5-08d4a146f234" providerId="ADAL" clId="{D306BB26-EB9F-4E01-A290-0111A7EB9CD4}" dt="2022-03-09T14:06:03.264" v="2646" actId="1076"/>
          <ac:picMkLst>
            <pc:docMk/>
            <pc:sldMk cId="3277503521" sldId="404"/>
            <ac:picMk id="8" creationId="{8A670C39-5478-49BA-8B70-4C9BA9650E87}"/>
          </ac:picMkLst>
        </pc:picChg>
      </pc:sldChg>
      <pc:sldChg chg="modSp add del mod">
        <pc:chgData name="Baciu Lupascu, Raluca" userId="68b8499e-70c7-46a5-a7f5-08d4a146f234" providerId="ADAL" clId="{D306BB26-EB9F-4E01-A290-0111A7EB9CD4}" dt="2022-03-09T14:06:38.534" v="2659" actId="2696"/>
        <pc:sldMkLst>
          <pc:docMk/>
          <pc:sldMk cId="1226973042" sldId="405"/>
        </pc:sldMkLst>
        <pc:spChg chg="mod">
          <ac:chgData name="Baciu Lupascu, Raluca" userId="68b8499e-70c7-46a5-a7f5-08d4a146f234" providerId="ADAL" clId="{D306BB26-EB9F-4E01-A290-0111A7EB9CD4}" dt="2022-03-09T14:06:38.141" v="2657" actId="12"/>
          <ac:spMkLst>
            <pc:docMk/>
            <pc:sldMk cId="1226973042" sldId="405"/>
            <ac:spMk id="2" creationId="{8BAAF7B6-1B36-449A-9574-0DC08235D874}"/>
          </ac:spMkLst>
        </pc:spChg>
      </pc:sldChg>
      <pc:sldChg chg="modSp add del mod">
        <pc:chgData name="Baciu Lupascu, Raluca" userId="68b8499e-70c7-46a5-a7f5-08d4a146f234" providerId="ADAL" clId="{D306BB26-EB9F-4E01-A290-0111A7EB9CD4}" dt="2022-03-09T14:06:40.596" v="2665" actId="2696"/>
        <pc:sldMkLst>
          <pc:docMk/>
          <pc:sldMk cId="3994778223" sldId="406"/>
        </pc:sldMkLst>
        <pc:spChg chg="mod">
          <ac:chgData name="Baciu Lupascu, Raluca" userId="68b8499e-70c7-46a5-a7f5-08d4a146f234" providerId="ADAL" clId="{D306BB26-EB9F-4E01-A290-0111A7EB9CD4}" dt="2022-03-09T14:06:40.242" v="2663" actId="12"/>
          <ac:spMkLst>
            <pc:docMk/>
            <pc:sldMk cId="3994778223" sldId="406"/>
            <ac:spMk id="2" creationId="{8BAAF7B6-1B36-449A-9574-0DC08235D874}"/>
          </ac:spMkLst>
        </pc:spChg>
      </pc:sldChg>
      <pc:sldChg chg="add">
        <pc:chgData name="Baciu Lupascu, Raluca" userId="68b8499e-70c7-46a5-a7f5-08d4a146f234" providerId="ADAL" clId="{D306BB26-EB9F-4E01-A290-0111A7EB9CD4}" dt="2022-03-09T14:06:40.576" v="2664"/>
        <pc:sldMkLst>
          <pc:docMk/>
          <pc:sldMk cId="2056359749" sldId="407"/>
        </pc:sldMkLst>
      </pc:sldChg>
      <pc:sldChg chg="modSp add mod">
        <pc:chgData name="Baciu Lupascu, Raluca" userId="68b8499e-70c7-46a5-a7f5-08d4a146f234" providerId="ADAL" clId="{D306BB26-EB9F-4E01-A290-0111A7EB9CD4}" dt="2022-03-09T14:07:55.924" v="2693" actId="1038"/>
        <pc:sldMkLst>
          <pc:docMk/>
          <pc:sldMk cId="4122854971" sldId="408"/>
        </pc:sldMkLst>
        <pc:spChg chg="mod">
          <ac:chgData name="Baciu Lupascu, Raluca" userId="68b8499e-70c7-46a5-a7f5-08d4a146f234" providerId="ADAL" clId="{D306BB26-EB9F-4E01-A290-0111A7EB9CD4}" dt="2022-03-09T14:07:40.944" v="2688" actId="207"/>
          <ac:spMkLst>
            <pc:docMk/>
            <pc:sldMk cId="4122854971" sldId="408"/>
            <ac:spMk id="2" creationId="{A6600319-DADD-4179-986B-4B79AF34F847}"/>
          </ac:spMkLst>
        </pc:spChg>
        <pc:picChg chg="mod">
          <ac:chgData name="Baciu Lupascu, Raluca" userId="68b8499e-70c7-46a5-a7f5-08d4a146f234" providerId="ADAL" clId="{D306BB26-EB9F-4E01-A290-0111A7EB9CD4}" dt="2022-03-09T14:07:55.924" v="2693" actId="1038"/>
          <ac:picMkLst>
            <pc:docMk/>
            <pc:sldMk cId="4122854971" sldId="408"/>
            <ac:picMk id="8" creationId="{A3CAC075-CF2B-4081-8047-55B4AF0D85A6}"/>
          </ac:picMkLst>
        </pc:picChg>
      </pc:sldChg>
      <pc:sldChg chg="addSp modSp add mod">
        <pc:chgData name="Baciu Lupascu, Raluca" userId="68b8499e-70c7-46a5-a7f5-08d4a146f234" providerId="ADAL" clId="{D306BB26-EB9F-4E01-A290-0111A7EB9CD4}" dt="2022-03-09T14:10:24.899" v="2734" actId="408"/>
        <pc:sldMkLst>
          <pc:docMk/>
          <pc:sldMk cId="708106909" sldId="409"/>
        </pc:sldMkLst>
        <pc:spChg chg="mod">
          <ac:chgData name="Baciu Lupascu, Raluca" userId="68b8499e-70c7-46a5-a7f5-08d4a146f234" providerId="ADAL" clId="{D306BB26-EB9F-4E01-A290-0111A7EB9CD4}" dt="2022-03-09T14:09:52.146" v="2725" actId="113"/>
          <ac:spMkLst>
            <pc:docMk/>
            <pc:sldMk cId="708106909" sldId="409"/>
            <ac:spMk id="2" creationId="{C1F5861E-D3CA-4DE4-8891-535D46D3E8BD}"/>
          </ac:spMkLst>
        </pc:spChg>
        <pc:spChg chg="mod">
          <ac:chgData name="Baciu Lupascu, Raluca" userId="68b8499e-70c7-46a5-a7f5-08d4a146f234" providerId="ADAL" clId="{D306BB26-EB9F-4E01-A290-0111A7EB9CD4}" dt="2022-03-09T14:09:33.391" v="2720" actId="14100"/>
          <ac:spMkLst>
            <pc:docMk/>
            <pc:sldMk cId="708106909" sldId="409"/>
            <ac:spMk id="3" creationId="{6B09C4ED-B77C-4002-A3A1-B4607FEAD7E7}"/>
          </ac:spMkLst>
        </pc:spChg>
        <pc:picChg chg="add mod">
          <ac:chgData name="Baciu Lupascu, Raluca" userId="68b8499e-70c7-46a5-a7f5-08d4a146f234" providerId="ADAL" clId="{D306BB26-EB9F-4E01-A290-0111A7EB9CD4}" dt="2022-03-09T14:10:07.814" v="2731" actId="1076"/>
          <ac:picMkLst>
            <pc:docMk/>
            <pc:sldMk cId="708106909" sldId="409"/>
            <ac:picMk id="9" creationId="{2179978C-6F50-4644-972F-DB6807A443D1}"/>
          </ac:picMkLst>
        </pc:picChg>
        <pc:picChg chg="mod">
          <ac:chgData name="Baciu Lupascu, Raluca" userId="68b8499e-70c7-46a5-a7f5-08d4a146f234" providerId="ADAL" clId="{D306BB26-EB9F-4E01-A290-0111A7EB9CD4}" dt="2022-03-09T14:10:12.395" v="2733" actId="1076"/>
          <ac:picMkLst>
            <pc:docMk/>
            <pc:sldMk cId="708106909" sldId="409"/>
            <ac:picMk id="15" creationId="{E72D617A-6662-4F54-B690-A3D14247BA4A}"/>
          </ac:picMkLst>
        </pc:picChg>
        <pc:picChg chg="mod">
          <ac:chgData name="Baciu Lupascu, Raluca" userId="68b8499e-70c7-46a5-a7f5-08d4a146f234" providerId="ADAL" clId="{D306BB26-EB9F-4E01-A290-0111A7EB9CD4}" dt="2022-03-09T14:10:24.899" v="2734" actId="408"/>
          <ac:picMkLst>
            <pc:docMk/>
            <pc:sldMk cId="708106909" sldId="409"/>
            <ac:picMk id="21" creationId="{4883AC0A-CE61-4273-8F7D-4C92124E9078}"/>
          </ac:picMkLst>
        </pc:picChg>
      </pc:sldChg>
      <pc:sldChg chg="add del">
        <pc:chgData name="Baciu Lupascu, Raluca" userId="68b8499e-70c7-46a5-a7f5-08d4a146f234" providerId="ADAL" clId="{D306BB26-EB9F-4E01-A290-0111A7EB9CD4}" dt="2022-03-09T14:21:21.928" v="2936"/>
        <pc:sldMkLst>
          <pc:docMk/>
          <pc:sldMk cId="3591781838" sldId="410"/>
        </pc:sldMkLst>
      </pc:sldChg>
      <pc:sldChg chg="modSp add del mod">
        <pc:chgData name="Baciu Lupascu, Raluca" userId="68b8499e-70c7-46a5-a7f5-08d4a146f234" providerId="ADAL" clId="{D306BB26-EB9F-4E01-A290-0111A7EB9CD4}" dt="2022-03-09T14:18:09.231" v="2917"/>
        <pc:sldMkLst>
          <pc:docMk/>
          <pc:sldMk cId="3757594270" sldId="410"/>
        </pc:sldMkLst>
        <pc:spChg chg="mod">
          <ac:chgData name="Baciu Lupascu, Raluca" userId="68b8499e-70c7-46a5-a7f5-08d4a146f234" providerId="ADAL" clId="{D306BB26-EB9F-4E01-A290-0111A7EB9CD4}" dt="2022-03-09T14:18:09.225" v="2915" actId="12"/>
          <ac:spMkLst>
            <pc:docMk/>
            <pc:sldMk cId="3757594270" sldId="410"/>
            <ac:spMk id="8" creationId="{F0F8A940-3A00-4EA9-A96D-1F3989A321A9}"/>
          </ac:spMkLst>
        </pc:spChg>
      </pc:sldChg>
      <pc:sldChg chg="add del">
        <pc:chgData name="Baciu Lupascu, Raluca" userId="68b8499e-70c7-46a5-a7f5-08d4a146f234" providerId="ADAL" clId="{D306BB26-EB9F-4E01-A290-0111A7EB9CD4}" dt="2022-03-09T14:18:01.591" v="2914"/>
        <pc:sldMkLst>
          <pc:docMk/>
          <pc:sldMk cId="4006917225" sldId="411"/>
        </pc:sldMkLst>
      </pc:sldChg>
      <pc:sldMasterChg chg="addSp modSp del delSldLayout">
        <pc:chgData name="Baciu Lupascu, Raluca" userId="68b8499e-70c7-46a5-a7f5-08d4a146f234" providerId="ADAL" clId="{D306BB26-EB9F-4E01-A290-0111A7EB9CD4}" dt="2022-03-09T13:35:49.315" v="910" actId="2696"/>
        <pc:sldMasterMkLst>
          <pc:docMk/>
          <pc:sldMasterMk cId="764518263" sldId="2147483705"/>
        </pc:sldMasterMkLst>
        <pc:spChg chg="add mod">
          <ac:chgData name="Baciu Lupascu, Raluca" userId="68b8499e-70c7-46a5-a7f5-08d4a146f234" providerId="ADAL" clId="{D306BB26-EB9F-4E01-A290-0111A7EB9CD4}" dt="2022-03-09T13:35:47.085" v="0"/>
          <ac:spMkLst>
            <pc:docMk/>
            <pc:sldMasterMk cId="764518263" sldId="2147483705"/>
            <ac:spMk id="2" creationId="{1D771187-E1D1-41BE-9635-A5BD165496F7}"/>
          </ac:spMkLst>
        </pc:spChg>
        <pc:spChg chg="add mod">
          <ac:chgData name="Baciu Lupascu, Raluca" userId="68b8499e-70c7-46a5-a7f5-08d4a146f234" providerId="ADAL" clId="{D306BB26-EB9F-4E01-A290-0111A7EB9CD4}" dt="2022-03-09T13:35:47.085" v="0"/>
          <ac:spMkLst>
            <pc:docMk/>
            <pc:sldMasterMk cId="764518263" sldId="2147483705"/>
            <ac:spMk id="3" creationId="{CD58B9F0-E4E7-45E5-B0A4-A17DF8785CB1}"/>
          </ac:spMkLst>
        </pc:spChg>
        <pc:spChg chg="add mod">
          <ac:chgData name="Baciu Lupascu, Raluca" userId="68b8499e-70c7-46a5-a7f5-08d4a146f234" providerId="ADAL" clId="{D306BB26-EB9F-4E01-A290-0111A7EB9CD4}" dt="2022-03-09T13:35:47.085" v="0"/>
          <ac:spMkLst>
            <pc:docMk/>
            <pc:sldMasterMk cId="764518263" sldId="2147483705"/>
            <ac:spMk id="4" creationId="{FB3AC932-F330-4B94-9F0F-4001543B1E80}"/>
          </ac:spMkLst>
        </pc:spChg>
        <pc:spChg chg="add mod">
          <ac:chgData name="Baciu Lupascu, Raluca" userId="68b8499e-70c7-46a5-a7f5-08d4a146f234" providerId="ADAL" clId="{D306BB26-EB9F-4E01-A290-0111A7EB9CD4}" dt="2022-03-09T13:35:47.085" v="0"/>
          <ac:spMkLst>
            <pc:docMk/>
            <pc:sldMasterMk cId="764518263" sldId="2147483705"/>
            <ac:spMk id="5" creationId="{F6E259A8-734B-440C-8751-1480C7102345}"/>
          </ac:spMkLst>
        </pc:spChg>
        <pc:spChg chg="add mod">
          <ac:chgData name="Baciu Lupascu, Raluca" userId="68b8499e-70c7-46a5-a7f5-08d4a146f234" providerId="ADAL" clId="{D306BB26-EB9F-4E01-A290-0111A7EB9CD4}" dt="2022-03-09T13:35:47.085" v="0"/>
          <ac:spMkLst>
            <pc:docMk/>
            <pc:sldMasterMk cId="764518263" sldId="2147483705"/>
            <ac:spMk id="6" creationId="{942CA8DA-BB4C-44C7-875C-55237F275706}"/>
          </ac:spMkLst>
        </pc:spChg>
        <pc:sldLayoutChg chg="del">
          <pc:chgData name="Baciu Lupascu, Raluca" userId="68b8499e-70c7-46a5-a7f5-08d4a146f234" providerId="ADAL" clId="{D306BB26-EB9F-4E01-A290-0111A7EB9CD4}" dt="2022-03-09T13:35:49.307" v="899" actId="2696"/>
          <pc:sldLayoutMkLst>
            <pc:docMk/>
            <pc:sldMasterMk cId="764518263" sldId="2147483705"/>
            <pc:sldLayoutMk cId="3015642745" sldId="2147483706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08" v="900" actId="2696"/>
          <pc:sldLayoutMkLst>
            <pc:docMk/>
            <pc:sldMasterMk cId="764518263" sldId="2147483705"/>
            <pc:sldLayoutMk cId="782517686" sldId="2147483707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08" v="901" actId="2696"/>
          <pc:sldLayoutMkLst>
            <pc:docMk/>
            <pc:sldMasterMk cId="764518263" sldId="2147483705"/>
            <pc:sldLayoutMk cId="2654450806" sldId="2147483708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09" v="902" actId="2696"/>
          <pc:sldLayoutMkLst>
            <pc:docMk/>
            <pc:sldMasterMk cId="764518263" sldId="2147483705"/>
            <pc:sldLayoutMk cId="4001638964" sldId="2147483709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0" v="903" actId="2696"/>
          <pc:sldLayoutMkLst>
            <pc:docMk/>
            <pc:sldMasterMk cId="764518263" sldId="2147483705"/>
            <pc:sldLayoutMk cId="3924354763" sldId="2147483710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0" v="904" actId="2696"/>
          <pc:sldLayoutMkLst>
            <pc:docMk/>
            <pc:sldMasterMk cId="764518263" sldId="2147483705"/>
            <pc:sldLayoutMk cId="2720441345" sldId="2147483711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1" v="905" actId="2696"/>
          <pc:sldLayoutMkLst>
            <pc:docMk/>
            <pc:sldMasterMk cId="764518263" sldId="2147483705"/>
            <pc:sldLayoutMk cId="1190675316" sldId="2147483712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2" v="906" actId="2696"/>
          <pc:sldLayoutMkLst>
            <pc:docMk/>
            <pc:sldMasterMk cId="764518263" sldId="2147483705"/>
            <pc:sldLayoutMk cId="1342459396" sldId="2147483713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2" v="907" actId="2696"/>
          <pc:sldLayoutMkLst>
            <pc:docMk/>
            <pc:sldMasterMk cId="764518263" sldId="2147483705"/>
            <pc:sldLayoutMk cId="3213149115" sldId="2147483714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3" v="908" actId="2696"/>
          <pc:sldLayoutMkLst>
            <pc:docMk/>
            <pc:sldMasterMk cId="764518263" sldId="2147483705"/>
            <pc:sldLayoutMk cId="3305562385" sldId="2147483715"/>
          </pc:sldLayoutMkLst>
        </pc:sldLayoutChg>
        <pc:sldLayoutChg chg="del">
          <pc:chgData name="Baciu Lupascu, Raluca" userId="68b8499e-70c7-46a5-a7f5-08d4a146f234" providerId="ADAL" clId="{D306BB26-EB9F-4E01-A290-0111A7EB9CD4}" dt="2022-03-09T13:35:49.314" v="909" actId="2696"/>
          <pc:sldLayoutMkLst>
            <pc:docMk/>
            <pc:sldMasterMk cId="764518263" sldId="2147483705"/>
            <pc:sldLayoutMk cId="1723701493" sldId="2147483716"/>
          </pc:sldLayoutMkLst>
        </pc:sldLayoutChg>
      </pc:sldMasterChg>
      <pc:sldMasterChg chg="modSp mod delSldLayout modSldLayout">
        <pc:chgData name="Baciu Lupascu, Raluca" userId="68b8499e-70c7-46a5-a7f5-08d4a146f234" providerId="ADAL" clId="{D306BB26-EB9F-4E01-A290-0111A7EB9CD4}" dt="2022-03-09T14:04:03.765" v="2598" actId="20577"/>
        <pc:sldMasterMkLst>
          <pc:docMk/>
          <pc:sldMasterMk cId="162286515" sldId="2147483717"/>
        </pc:sldMasterMkLst>
        <pc:spChg chg="mod">
          <ac:chgData name="Baciu Lupascu, Raluca" userId="68b8499e-70c7-46a5-a7f5-08d4a146f234" providerId="ADAL" clId="{D306BB26-EB9F-4E01-A290-0111A7EB9CD4}" dt="2022-03-09T13:35:55.707" v="1256" actId="790"/>
          <ac:spMkLst>
            <pc:docMk/>
            <pc:sldMasterMk cId="162286515" sldId="2147483717"/>
            <ac:spMk id="2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5.710" v="1257" actId="790"/>
          <ac:spMkLst>
            <pc:docMk/>
            <pc:sldMasterMk cId="162286515" sldId="2147483717"/>
            <ac:spMk id="3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4:04:03.753" v="2590" actId="20577"/>
          <ac:spMkLst>
            <pc:docMk/>
            <pc:sldMasterMk cId="162286515" sldId="2147483717"/>
            <ac:spMk id="4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5.715" v="1262" actId="790"/>
          <ac:spMkLst>
            <pc:docMk/>
            <pc:sldMasterMk cId="162286515" sldId="2147483717"/>
            <ac:spMk id="5" creationId="{27254704-E119-42D2-B731-CE591F07E024}"/>
          </ac:spMkLst>
        </pc:spChg>
        <pc:spChg chg="mod">
          <ac:chgData name="Baciu Lupascu, Raluca" userId="68b8499e-70c7-46a5-a7f5-08d4a146f234" providerId="ADAL" clId="{D306BB26-EB9F-4E01-A290-0111A7EB9CD4}" dt="2022-03-09T14:04:03.765" v="2598" actId="20577"/>
          <ac:spMkLst>
            <pc:docMk/>
            <pc:sldMasterMk cId="162286515" sldId="2147483717"/>
            <ac:spMk id="16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6.256" v="1783" actId="790"/>
          <ac:spMkLst>
            <pc:docMk/>
            <pc:sldMasterMk cId="162286515" sldId="2147483717"/>
            <ac:spMk id="24" creationId="{00000000-0000-0000-0000-000000000000}"/>
          </ac:spMkLst>
        </pc:spChg>
        <pc:spChg chg="mod">
          <ac:chgData name="Baciu Lupascu, Raluca" userId="68b8499e-70c7-46a5-a7f5-08d4a146f234" providerId="ADAL" clId="{D306BB26-EB9F-4E01-A290-0111A7EB9CD4}" dt="2022-03-09T13:35:55.712" v="1259" actId="790"/>
          <ac:spMkLst>
            <pc:docMk/>
            <pc:sldMasterMk cId="162286515" sldId="2147483717"/>
            <ac:spMk id="26" creationId="{00000000-0000-0000-0000-000000000000}"/>
          </ac:spMkLst>
        </pc:spChg>
        <pc:sldLayoutChg chg="addSp delSp modSp del mod">
          <pc:chgData name="Baciu Lupascu, Raluca" userId="68b8499e-70c7-46a5-a7f5-08d4a146f234" providerId="ADAL" clId="{D306BB26-EB9F-4E01-A290-0111A7EB9CD4}" dt="2022-03-09T13:35:49.039" v="648" actId="2696"/>
          <pc:sldLayoutMkLst>
            <pc:docMk/>
            <pc:sldMasterMk cId="162286515" sldId="2147483717"/>
            <pc:sldLayoutMk cId="0" sldId="2147483649"/>
          </pc:sldLayoutMkLst>
          <pc:spChg chg="add del mod">
            <ac:chgData name="Baciu Lupascu, Raluca" userId="68b8499e-70c7-46a5-a7f5-08d4a146f234" providerId="ADAL" clId="{D306BB26-EB9F-4E01-A290-0111A7EB9CD4}" dt="2022-03-09T13:35:49.032" v="647"/>
            <ac:spMkLst>
              <pc:docMk/>
              <pc:sldMasterMk cId="162286515" sldId="2147483717"/>
              <pc:sldLayoutMk cId="0" sldId="2147483649"/>
              <ac:spMk id="5" creationId="{3D311CFD-F230-4BB6-9078-400E29CE690E}"/>
            </ac:spMkLst>
          </pc:spChg>
        </pc:sldLayoutChg>
        <pc:sldLayoutChg chg="addSp delSp modSp del mod">
          <pc:chgData name="Baciu Lupascu, Raluca" userId="68b8499e-70c7-46a5-a7f5-08d4a146f234" providerId="ADAL" clId="{D306BB26-EB9F-4E01-A290-0111A7EB9CD4}" dt="2022-03-09T13:35:49.025" v="643" actId="2696"/>
          <pc:sldLayoutMkLst>
            <pc:docMk/>
            <pc:sldMasterMk cId="162286515" sldId="2147483717"/>
            <pc:sldLayoutMk cId="0" sldId="2147483651"/>
          </pc:sldLayoutMkLst>
          <pc:spChg chg="add del mod">
            <ac:chgData name="Baciu Lupascu, Raluca" userId="68b8499e-70c7-46a5-a7f5-08d4a146f234" providerId="ADAL" clId="{D306BB26-EB9F-4E01-A290-0111A7EB9CD4}" dt="2022-03-09T13:35:49.020" v="642"/>
            <ac:spMkLst>
              <pc:docMk/>
              <pc:sldMasterMk cId="162286515" sldId="2147483717"/>
              <pc:sldLayoutMk cId="0" sldId="2147483651"/>
              <ac:spMk id="6" creationId="{BC665607-9512-4FD3-9735-73A8CF4E662B}"/>
            </ac:spMkLst>
          </pc:spChg>
        </pc:sldLayoutChg>
        <pc:sldLayoutChg chg="addSp delSp modSp del mod">
          <pc:chgData name="Baciu Lupascu, Raluca" userId="68b8499e-70c7-46a5-a7f5-08d4a146f234" providerId="ADAL" clId="{D306BB26-EB9F-4E01-A290-0111A7EB9CD4}" dt="2022-03-09T13:35:49.013" v="638" actId="2696"/>
          <pc:sldLayoutMkLst>
            <pc:docMk/>
            <pc:sldMasterMk cId="162286515" sldId="2147483717"/>
            <pc:sldLayoutMk cId="0" sldId="2147483652"/>
          </pc:sldLayoutMkLst>
          <pc:spChg chg="add del mod">
            <ac:chgData name="Baciu Lupascu, Raluca" userId="68b8499e-70c7-46a5-a7f5-08d4a146f234" providerId="ADAL" clId="{D306BB26-EB9F-4E01-A290-0111A7EB9CD4}" dt="2022-03-09T13:35:49.007" v="637"/>
            <ac:spMkLst>
              <pc:docMk/>
              <pc:sldMasterMk cId="162286515" sldId="2147483717"/>
              <pc:sldLayoutMk cId="0" sldId="2147483652"/>
              <ac:spMk id="5" creationId="{B2D98129-2D7E-4BB6-8FFA-BAEDE57457BB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60" v="1786" actId="790"/>
          <pc:sldLayoutMkLst>
            <pc:docMk/>
            <pc:sldMasterMk cId="162286515" sldId="2147483717"/>
            <pc:sldLayoutMk cId="3664052698" sldId="2147483718"/>
          </pc:sldLayoutMkLst>
          <pc:spChg chg="mod">
            <ac:chgData name="Baciu Lupascu, Raluca" userId="68b8499e-70c7-46a5-a7f5-08d4a146f234" providerId="ADAL" clId="{D306BB26-EB9F-4E01-A290-0111A7EB9CD4}" dt="2022-03-09T13:35:56.260" v="1786" actId="790"/>
            <ac:spMkLst>
              <pc:docMk/>
              <pc:sldMasterMk cId="162286515" sldId="2147483717"/>
              <pc:sldLayoutMk cId="3664052698" sldId="2147483718"/>
              <ac:spMk id="4" creationId="{05D68D9D-A71B-4491-8644-B948906D9288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63" v="1789" actId="790"/>
          <pc:sldLayoutMkLst>
            <pc:docMk/>
            <pc:sldMasterMk cId="162286515" sldId="2147483717"/>
            <pc:sldLayoutMk cId="3225539011" sldId="2147483719"/>
          </pc:sldLayoutMkLst>
          <pc:spChg chg="mod">
            <ac:chgData name="Baciu Lupascu, Raluca" userId="68b8499e-70c7-46a5-a7f5-08d4a146f234" providerId="ADAL" clId="{D306BB26-EB9F-4E01-A290-0111A7EB9CD4}" dt="2022-03-09T13:35:56.263" v="1789" actId="790"/>
            <ac:spMkLst>
              <pc:docMk/>
              <pc:sldMasterMk cId="162286515" sldId="2147483717"/>
              <pc:sldLayoutMk cId="3225539011" sldId="2147483719"/>
              <ac:spMk id="4" creationId="{D54A713B-EAFD-4F77-90C2-3995E569BD6B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66" v="1792" actId="790"/>
          <pc:sldLayoutMkLst>
            <pc:docMk/>
            <pc:sldMasterMk cId="162286515" sldId="2147483717"/>
            <pc:sldLayoutMk cId="1765783818" sldId="2147483720"/>
          </pc:sldLayoutMkLst>
          <pc:spChg chg="mod">
            <ac:chgData name="Baciu Lupascu, Raluca" userId="68b8499e-70c7-46a5-a7f5-08d4a146f234" providerId="ADAL" clId="{D306BB26-EB9F-4E01-A290-0111A7EB9CD4}" dt="2022-03-09T13:35:56.266" v="1792" actId="790"/>
            <ac:spMkLst>
              <pc:docMk/>
              <pc:sldMasterMk cId="162286515" sldId="2147483717"/>
              <pc:sldLayoutMk cId="1765783818" sldId="2147483720"/>
              <ac:spMk id="4" creationId="{F3C9D60D-44C9-404B-93EA-CEC194B41EC2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69" v="1795" actId="790"/>
          <pc:sldLayoutMkLst>
            <pc:docMk/>
            <pc:sldMasterMk cId="162286515" sldId="2147483717"/>
            <pc:sldLayoutMk cId="1874278054" sldId="2147483721"/>
          </pc:sldLayoutMkLst>
          <pc:spChg chg="mod">
            <ac:chgData name="Baciu Lupascu, Raluca" userId="68b8499e-70c7-46a5-a7f5-08d4a146f234" providerId="ADAL" clId="{D306BB26-EB9F-4E01-A290-0111A7EB9CD4}" dt="2022-03-09T13:35:56.269" v="1795" actId="790"/>
            <ac:spMkLst>
              <pc:docMk/>
              <pc:sldMasterMk cId="162286515" sldId="2147483717"/>
              <pc:sldLayoutMk cId="1874278054" sldId="2147483721"/>
              <ac:spMk id="7" creationId="{28242E24-BED6-488F-89AD-B05C9CBDF51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4" v="1214"/>
            <ac:spMkLst>
              <pc:docMk/>
              <pc:sldMasterMk cId="162286515" sldId="2147483717"/>
              <pc:sldLayoutMk cId="1874278054" sldId="2147483721"/>
              <ac:spMk id="20" creationId="{71443D15-BEDB-40DE-94E4-DAC71EB66161}"/>
            </ac:spMkLst>
          </pc:spChg>
          <pc:spChg chg="mod modVis">
            <ac:chgData name="Baciu Lupascu, Raluca" userId="68b8499e-70c7-46a5-a7f5-08d4a146f234" providerId="ADAL" clId="{D306BB26-EB9F-4E01-A290-0111A7EB9CD4}" dt="2022-03-09T13:35:55.637" v="1172"/>
            <ac:spMkLst>
              <pc:docMk/>
              <pc:sldMasterMk cId="162286515" sldId="2147483717"/>
              <pc:sldLayoutMk cId="1874278054" sldId="2147483721"/>
              <ac:spMk id="21" creationId="{8C6396D6-849A-4ABC-8DBD-C38E1845BAAB}"/>
            </ac:spMkLst>
          </pc:spChg>
          <pc:spChg chg="mod modVis">
            <ac:chgData name="Baciu Lupascu, Raluca" userId="68b8499e-70c7-46a5-a7f5-08d4a146f234" providerId="ADAL" clId="{D306BB26-EB9F-4E01-A290-0111A7EB9CD4}" dt="2022-03-09T13:35:55.611" v="1130"/>
            <ac:spMkLst>
              <pc:docMk/>
              <pc:sldMasterMk cId="162286515" sldId="2147483717"/>
              <pc:sldLayoutMk cId="1874278054" sldId="2147483721"/>
              <ac:spMk id="24" creationId="{21B62723-1E18-4553-90EC-FFCFA4728AE5}"/>
            </ac:spMkLst>
          </pc:spChg>
          <pc:spChg chg="mod modVis">
            <ac:chgData name="Baciu Lupascu, Raluca" userId="68b8499e-70c7-46a5-a7f5-08d4a146f234" providerId="ADAL" clId="{D306BB26-EB9F-4E01-A290-0111A7EB9CD4}" dt="2022-03-09T13:35:55.583" v="1088"/>
            <ac:spMkLst>
              <pc:docMk/>
              <pc:sldMasterMk cId="162286515" sldId="2147483717"/>
              <pc:sldLayoutMk cId="1874278054" sldId="2147483721"/>
              <ac:spMk id="31" creationId="{3CC02D7B-F6BC-4A33-921C-E8D701D211CA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72" v="1798" actId="790"/>
          <pc:sldLayoutMkLst>
            <pc:docMk/>
            <pc:sldMasterMk cId="162286515" sldId="2147483717"/>
            <pc:sldLayoutMk cId="2108471653" sldId="2147483722"/>
          </pc:sldLayoutMkLst>
          <pc:spChg chg="mod">
            <ac:chgData name="Baciu Lupascu, Raluca" userId="68b8499e-70c7-46a5-a7f5-08d4a146f234" providerId="ADAL" clId="{D306BB26-EB9F-4E01-A290-0111A7EB9CD4}" dt="2022-03-09T13:35:56.272" v="1798" actId="790"/>
            <ac:spMkLst>
              <pc:docMk/>
              <pc:sldMasterMk cId="162286515" sldId="2147483717"/>
              <pc:sldLayoutMk cId="2108471653" sldId="2147483722"/>
              <ac:spMk id="7" creationId="{EACC22E2-F21B-4290-B56B-022F9C2C4E73}"/>
            </ac:spMkLst>
          </pc:spChg>
          <pc:spChg chg="mod modVis">
            <ac:chgData name="Baciu Lupascu, Raluca" userId="68b8499e-70c7-46a5-a7f5-08d4a146f234" providerId="ADAL" clId="{D306BB26-EB9F-4E01-A290-0111A7EB9CD4}" dt="2022-03-09T13:35:55.677" v="1235"/>
            <ac:spMkLst>
              <pc:docMk/>
              <pc:sldMasterMk cId="162286515" sldId="2147483717"/>
              <pc:sldLayoutMk cId="2108471653" sldId="2147483722"/>
              <ac:spMk id="14" creationId="{E788FAB4-76CB-4C6D-B621-6A743E02A41B}"/>
            </ac:spMkLst>
          </pc:spChg>
          <pc:spChg chg="mod modVis">
            <ac:chgData name="Baciu Lupascu, Raluca" userId="68b8499e-70c7-46a5-a7f5-08d4a146f234" providerId="ADAL" clId="{D306BB26-EB9F-4E01-A290-0111A7EB9CD4}" dt="2022-03-09T13:35:55.651" v="1193"/>
            <ac:spMkLst>
              <pc:docMk/>
              <pc:sldMasterMk cId="162286515" sldId="2147483717"/>
              <pc:sldLayoutMk cId="2108471653" sldId="2147483722"/>
              <ac:spMk id="15" creationId="{F7E1ACF2-8A1B-4DB6-BE92-3D6012F45AA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4" v="1151"/>
            <ac:spMkLst>
              <pc:docMk/>
              <pc:sldMasterMk cId="162286515" sldId="2147483717"/>
              <pc:sldLayoutMk cId="2108471653" sldId="2147483722"/>
              <ac:spMk id="16" creationId="{D947D2E2-B9BD-4867-96BB-0E2A9A807420}"/>
            </ac:spMkLst>
          </pc:spChg>
          <pc:spChg chg="mod modVis">
            <ac:chgData name="Baciu Lupascu, Raluca" userId="68b8499e-70c7-46a5-a7f5-08d4a146f234" providerId="ADAL" clId="{D306BB26-EB9F-4E01-A290-0111A7EB9CD4}" dt="2022-03-09T13:35:55.597" v="1109"/>
            <ac:spMkLst>
              <pc:docMk/>
              <pc:sldMasterMk cId="162286515" sldId="2147483717"/>
              <pc:sldLayoutMk cId="2108471653" sldId="2147483722"/>
              <ac:spMk id="17" creationId="{C339FBF6-C82F-48A2-A44B-1587C009EB0D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75" v="1801" actId="790"/>
          <pc:sldLayoutMkLst>
            <pc:docMk/>
            <pc:sldMasterMk cId="162286515" sldId="2147483717"/>
            <pc:sldLayoutMk cId="3134409892" sldId="2147483723"/>
          </pc:sldLayoutMkLst>
          <pc:spChg chg="mod">
            <ac:chgData name="Baciu Lupascu, Raluca" userId="68b8499e-70c7-46a5-a7f5-08d4a146f234" providerId="ADAL" clId="{D306BB26-EB9F-4E01-A290-0111A7EB9CD4}" dt="2022-03-09T13:35:56.275" v="1801" actId="790"/>
            <ac:spMkLst>
              <pc:docMk/>
              <pc:sldMasterMk cId="162286515" sldId="2147483717"/>
              <pc:sldLayoutMk cId="3134409892" sldId="2147483723"/>
              <ac:spMk id="7" creationId="{0E9A42A0-1A19-435A-8B47-386CD8F86E66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6" v="1217"/>
            <ac:spMkLst>
              <pc:docMk/>
              <pc:sldMasterMk cId="162286515" sldId="2147483717"/>
              <pc:sldLayoutMk cId="3134409892" sldId="2147483723"/>
              <ac:spMk id="18" creationId="{9B678141-DCD3-441A-A4B8-97BA49CB00D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38" v="1175"/>
            <ac:spMkLst>
              <pc:docMk/>
              <pc:sldMasterMk cId="162286515" sldId="2147483717"/>
              <pc:sldLayoutMk cId="3134409892" sldId="2147483723"/>
              <ac:spMk id="19" creationId="{F20B2B3D-1480-4E51-9E7D-83FE04DAC377}"/>
            </ac:spMkLst>
          </pc:spChg>
          <pc:spChg chg="mod modVis">
            <ac:chgData name="Baciu Lupascu, Raluca" userId="68b8499e-70c7-46a5-a7f5-08d4a146f234" providerId="ADAL" clId="{D306BB26-EB9F-4E01-A290-0111A7EB9CD4}" dt="2022-03-09T13:35:55.613" v="1133"/>
            <ac:spMkLst>
              <pc:docMk/>
              <pc:sldMasterMk cId="162286515" sldId="2147483717"/>
              <pc:sldLayoutMk cId="3134409892" sldId="2147483723"/>
              <ac:spMk id="20" creationId="{85A829C0-D5AF-4F8E-8D53-81488C60B856}"/>
            </ac:spMkLst>
          </pc:spChg>
          <pc:spChg chg="mod modVis">
            <ac:chgData name="Baciu Lupascu, Raluca" userId="68b8499e-70c7-46a5-a7f5-08d4a146f234" providerId="ADAL" clId="{D306BB26-EB9F-4E01-A290-0111A7EB9CD4}" dt="2022-03-09T13:35:55.585" v="1091"/>
            <ac:spMkLst>
              <pc:docMk/>
              <pc:sldMasterMk cId="162286515" sldId="2147483717"/>
              <pc:sldLayoutMk cId="3134409892" sldId="2147483723"/>
              <ac:spMk id="22" creationId="{A1E7FC13-9662-4FA1-B109-B7035A00C1F2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78" v="1804" actId="790"/>
          <pc:sldLayoutMkLst>
            <pc:docMk/>
            <pc:sldMasterMk cId="162286515" sldId="2147483717"/>
            <pc:sldLayoutMk cId="1647714027" sldId="2147483724"/>
          </pc:sldLayoutMkLst>
          <pc:spChg chg="mod">
            <ac:chgData name="Baciu Lupascu, Raluca" userId="68b8499e-70c7-46a5-a7f5-08d4a146f234" providerId="ADAL" clId="{D306BB26-EB9F-4E01-A290-0111A7EB9CD4}" dt="2022-03-09T13:35:56.278" v="1804" actId="790"/>
            <ac:spMkLst>
              <pc:docMk/>
              <pc:sldMasterMk cId="162286515" sldId="2147483717"/>
              <pc:sldLayoutMk cId="1647714027" sldId="2147483724"/>
              <ac:spMk id="3" creationId="{07540C32-2016-4E0F-8E09-D53276BC9234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81" v="1807" actId="790"/>
          <pc:sldLayoutMkLst>
            <pc:docMk/>
            <pc:sldMasterMk cId="162286515" sldId="2147483717"/>
            <pc:sldLayoutMk cId="1076680791" sldId="2147483725"/>
          </pc:sldLayoutMkLst>
          <pc:spChg chg="mod">
            <ac:chgData name="Baciu Lupascu, Raluca" userId="68b8499e-70c7-46a5-a7f5-08d4a146f234" providerId="ADAL" clId="{D306BB26-EB9F-4E01-A290-0111A7EB9CD4}" dt="2022-03-09T13:35:56.281" v="1807" actId="790"/>
            <ac:spMkLst>
              <pc:docMk/>
              <pc:sldMasterMk cId="162286515" sldId="2147483717"/>
              <pc:sldLayoutMk cId="1076680791" sldId="2147483725"/>
              <ac:spMk id="3" creationId="{15247F53-C36C-4439-BD54-7FAC3E3BB7D5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84" v="1810" actId="790"/>
          <pc:sldLayoutMkLst>
            <pc:docMk/>
            <pc:sldMasterMk cId="162286515" sldId="2147483717"/>
            <pc:sldLayoutMk cId="1483359351" sldId="2147483726"/>
          </pc:sldLayoutMkLst>
          <pc:spChg chg="mod">
            <ac:chgData name="Baciu Lupascu, Raluca" userId="68b8499e-70c7-46a5-a7f5-08d4a146f234" providerId="ADAL" clId="{D306BB26-EB9F-4E01-A290-0111A7EB9CD4}" dt="2022-03-09T13:35:56.284" v="1810" actId="790"/>
            <ac:spMkLst>
              <pc:docMk/>
              <pc:sldMasterMk cId="162286515" sldId="2147483717"/>
              <pc:sldLayoutMk cId="1483359351" sldId="2147483726"/>
              <ac:spMk id="3" creationId="{DBD13C6B-34CD-4AC1-993E-8BDBB7884FE6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87" v="1813" actId="790"/>
          <pc:sldLayoutMkLst>
            <pc:docMk/>
            <pc:sldMasterMk cId="162286515" sldId="2147483717"/>
            <pc:sldLayoutMk cId="4135471850" sldId="2147483727"/>
          </pc:sldLayoutMkLst>
          <pc:spChg chg="mod">
            <ac:chgData name="Baciu Lupascu, Raluca" userId="68b8499e-70c7-46a5-a7f5-08d4a146f234" providerId="ADAL" clId="{D306BB26-EB9F-4E01-A290-0111A7EB9CD4}" dt="2022-03-09T13:35:56.287" v="1813" actId="790"/>
            <ac:spMkLst>
              <pc:docMk/>
              <pc:sldMasterMk cId="162286515" sldId="2147483717"/>
              <pc:sldLayoutMk cId="4135471850" sldId="2147483727"/>
              <ac:spMk id="7" creationId="{D6758724-2774-4003-B210-E8EC4053BE3F}"/>
            </ac:spMkLst>
          </pc:spChg>
          <pc:spChg chg="mod modVis">
            <ac:chgData name="Baciu Lupascu, Raluca" userId="68b8499e-70c7-46a5-a7f5-08d4a146f234" providerId="ADAL" clId="{D306BB26-EB9F-4E01-A290-0111A7EB9CD4}" dt="2022-03-09T13:35:55.679" v="1238"/>
            <ac:spMkLst>
              <pc:docMk/>
              <pc:sldMasterMk cId="162286515" sldId="2147483717"/>
              <pc:sldLayoutMk cId="4135471850" sldId="2147483727"/>
              <ac:spMk id="14" creationId="{86F8EC9E-1AEB-4B13-B233-C5D28F109AD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53" v="1196"/>
            <ac:spMkLst>
              <pc:docMk/>
              <pc:sldMasterMk cId="162286515" sldId="2147483717"/>
              <pc:sldLayoutMk cId="4135471850" sldId="2147483727"/>
              <ac:spMk id="15" creationId="{0444BCA8-BAAE-45F1-BF20-9C985694BA08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6" v="1154"/>
            <ac:spMkLst>
              <pc:docMk/>
              <pc:sldMasterMk cId="162286515" sldId="2147483717"/>
              <pc:sldLayoutMk cId="4135471850" sldId="2147483727"/>
              <ac:spMk id="16" creationId="{97373417-F7FA-4C7C-AA99-5CA17883335A}"/>
            </ac:spMkLst>
          </pc:spChg>
          <pc:spChg chg="mod modVis">
            <ac:chgData name="Baciu Lupascu, Raluca" userId="68b8499e-70c7-46a5-a7f5-08d4a146f234" providerId="ADAL" clId="{D306BB26-EB9F-4E01-A290-0111A7EB9CD4}" dt="2022-03-09T13:35:55.598" v="1112"/>
            <ac:spMkLst>
              <pc:docMk/>
              <pc:sldMasterMk cId="162286515" sldId="2147483717"/>
              <pc:sldLayoutMk cId="4135471850" sldId="2147483727"/>
              <ac:spMk id="17" creationId="{18F89E35-4A03-46B8-BF60-0D6BE509F842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90" v="1816" actId="790"/>
          <pc:sldLayoutMkLst>
            <pc:docMk/>
            <pc:sldMasterMk cId="162286515" sldId="2147483717"/>
            <pc:sldLayoutMk cId="34698005" sldId="2147483728"/>
          </pc:sldLayoutMkLst>
          <pc:spChg chg="mod">
            <ac:chgData name="Baciu Lupascu, Raluca" userId="68b8499e-70c7-46a5-a7f5-08d4a146f234" providerId="ADAL" clId="{D306BB26-EB9F-4E01-A290-0111A7EB9CD4}" dt="2022-03-09T13:35:56.290" v="1816" actId="790"/>
            <ac:spMkLst>
              <pc:docMk/>
              <pc:sldMasterMk cId="162286515" sldId="2147483717"/>
              <pc:sldLayoutMk cId="34698005" sldId="2147483728"/>
              <ac:spMk id="7" creationId="{5C9E9889-D9B8-4464-90AE-1C5694A443C1}"/>
            </ac:spMkLst>
          </pc:spChg>
          <pc:spChg chg="mod modVis">
            <ac:chgData name="Baciu Lupascu, Raluca" userId="68b8499e-70c7-46a5-a7f5-08d4a146f234" providerId="ADAL" clId="{D306BB26-EB9F-4E01-A290-0111A7EB9CD4}" dt="2022-03-09T13:35:55.681" v="1241"/>
            <ac:spMkLst>
              <pc:docMk/>
              <pc:sldMasterMk cId="162286515" sldId="2147483717"/>
              <pc:sldLayoutMk cId="34698005" sldId="2147483728"/>
              <ac:spMk id="14" creationId="{F91FA335-A736-4869-A5F5-27416157CD3B}"/>
            </ac:spMkLst>
          </pc:spChg>
          <pc:spChg chg="mod modVis">
            <ac:chgData name="Baciu Lupascu, Raluca" userId="68b8499e-70c7-46a5-a7f5-08d4a146f234" providerId="ADAL" clId="{D306BB26-EB9F-4E01-A290-0111A7EB9CD4}" dt="2022-03-09T13:35:55.655" v="1199"/>
            <ac:spMkLst>
              <pc:docMk/>
              <pc:sldMasterMk cId="162286515" sldId="2147483717"/>
              <pc:sldLayoutMk cId="34698005" sldId="2147483728"/>
              <ac:spMk id="15" creationId="{1C3BDA8D-21CF-4C1C-92C8-92B4F9AC1462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8" v="1157"/>
            <ac:spMkLst>
              <pc:docMk/>
              <pc:sldMasterMk cId="162286515" sldId="2147483717"/>
              <pc:sldLayoutMk cId="34698005" sldId="2147483728"/>
              <ac:spMk id="16" creationId="{92294B2A-223A-41EB-A4D3-73498DD17D48}"/>
            </ac:spMkLst>
          </pc:spChg>
          <pc:spChg chg="mod modVis">
            <ac:chgData name="Baciu Lupascu, Raluca" userId="68b8499e-70c7-46a5-a7f5-08d4a146f234" providerId="ADAL" clId="{D306BB26-EB9F-4E01-A290-0111A7EB9CD4}" dt="2022-03-09T13:35:55.600" v="1115"/>
            <ac:spMkLst>
              <pc:docMk/>
              <pc:sldMasterMk cId="162286515" sldId="2147483717"/>
              <pc:sldLayoutMk cId="34698005" sldId="2147483728"/>
              <ac:spMk id="17" creationId="{2D3E43CD-D260-43D5-985B-A6070AF35D87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92" v="1819" actId="790"/>
          <pc:sldLayoutMkLst>
            <pc:docMk/>
            <pc:sldMasterMk cId="162286515" sldId="2147483717"/>
            <pc:sldLayoutMk cId="3367619052" sldId="2147483729"/>
          </pc:sldLayoutMkLst>
          <pc:spChg chg="mod">
            <ac:chgData name="Baciu Lupascu, Raluca" userId="68b8499e-70c7-46a5-a7f5-08d4a146f234" providerId="ADAL" clId="{D306BB26-EB9F-4E01-A290-0111A7EB9CD4}" dt="2022-03-09T13:35:56.292" v="1819" actId="790"/>
            <ac:spMkLst>
              <pc:docMk/>
              <pc:sldMasterMk cId="162286515" sldId="2147483717"/>
              <pc:sldLayoutMk cId="3367619052" sldId="2147483729"/>
              <ac:spMk id="6" creationId="{3CCA592D-71D0-4327-ABCD-E620EE710FE4}"/>
            </ac:spMkLst>
          </pc:spChg>
          <pc:spChg chg="mod modVis">
            <ac:chgData name="Baciu Lupascu, Raluca" userId="68b8499e-70c7-46a5-a7f5-08d4a146f234" providerId="ADAL" clId="{D306BB26-EB9F-4E01-A290-0111A7EB9CD4}" dt="2022-03-09T13:35:55.675" v="1232"/>
            <ac:spMkLst>
              <pc:docMk/>
              <pc:sldMasterMk cId="162286515" sldId="2147483717"/>
              <pc:sldLayoutMk cId="3367619052" sldId="2147483729"/>
              <ac:spMk id="14" creationId="{23D7AA8A-E342-4FD0-BCBD-1470358DADFB}"/>
            </ac:spMkLst>
          </pc:spChg>
          <pc:spChg chg="mod modVis">
            <ac:chgData name="Baciu Lupascu, Raluca" userId="68b8499e-70c7-46a5-a7f5-08d4a146f234" providerId="ADAL" clId="{D306BB26-EB9F-4E01-A290-0111A7EB9CD4}" dt="2022-03-09T13:35:55.649" v="1190"/>
            <ac:spMkLst>
              <pc:docMk/>
              <pc:sldMasterMk cId="162286515" sldId="2147483717"/>
              <pc:sldLayoutMk cId="3367619052" sldId="2147483729"/>
              <ac:spMk id="15" creationId="{0A8BA5EE-6B72-40E7-8ED5-DC20CE557046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2" v="1148"/>
            <ac:spMkLst>
              <pc:docMk/>
              <pc:sldMasterMk cId="162286515" sldId="2147483717"/>
              <pc:sldLayoutMk cId="3367619052" sldId="2147483729"/>
              <ac:spMk id="16" creationId="{E348A05D-E816-4522-A298-6D62550566C0}"/>
            </ac:spMkLst>
          </pc:spChg>
          <pc:spChg chg="mod modVis">
            <ac:chgData name="Baciu Lupascu, Raluca" userId="68b8499e-70c7-46a5-a7f5-08d4a146f234" providerId="ADAL" clId="{D306BB26-EB9F-4E01-A290-0111A7EB9CD4}" dt="2022-03-09T13:35:55.595" v="1106"/>
            <ac:spMkLst>
              <pc:docMk/>
              <pc:sldMasterMk cId="162286515" sldId="2147483717"/>
              <pc:sldLayoutMk cId="3367619052" sldId="2147483729"/>
              <ac:spMk id="18" creationId="{38C380F1-7DBC-4B80-AD8A-F20330358945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95" v="1822" actId="790"/>
          <pc:sldLayoutMkLst>
            <pc:docMk/>
            <pc:sldMasterMk cId="162286515" sldId="2147483717"/>
            <pc:sldLayoutMk cId="233524713" sldId="2147483730"/>
          </pc:sldLayoutMkLst>
          <pc:spChg chg="mod">
            <ac:chgData name="Baciu Lupascu, Raluca" userId="68b8499e-70c7-46a5-a7f5-08d4a146f234" providerId="ADAL" clId="{D306BB26-EB9F-4E01-A290-0111A7EB9CD4}" dt="2022-03-09T13:35:56.295" v="1822" actId="790"/>
            <ac:spMkLst>
              <pc:docMk/>
              <pc:sldMasterMk cId="162286515" sldId="2147483717"/>
              <pc:sldLayoutMk cId="233524713" sldId="2147483730"/>
              <ac:spMk id="7" creationId="{9EDA6242-2A62-498D-A40B-38E9D6DA4796}"/>
            </ac:spMkLst>
          </pc:spChg>
          <pc:spChg chg="mod modVis">
            <ac:chgData name="Baciu Lupascu, Raluca" userId="68b8499e-70c7-46a5-a7f5-08d4a146f234" providerId="ADAL" clId="{D306BB26-EB9F-4E01-A290-0111A7EB9CD4}" dt="2022-03-09T13:35:55.673" v="1229"/>
            <ac:spMkLst>
              <pc:docMk/>
              <pc:sldMasterMk cId="162286515" sldId="2147483717"/>
              <pc:sldLayoutMk cId="233524713" sldId="2147483730"/>
              <ac:spMk id="17" creationId="{63F71440-52CB-414F-B926-8F4ADFC90EE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48" v="1187"/>
            <ac:spMkLst>
              <pc:docMk/>
              <pc:sldMasterMk cId="162286515" sldId="2147483717"/>
              <pc:sldLayoutMk cId="233524713" sldId="2147483730"/>
              <ac:spMk id="18" creationId="{6568D25D-9208-4FF5-9DDC-D50BD8DCEA24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0" v="1145"/>
            <ac:spMkLst>
              <pc:docMk/>
              <pc:sldMasterMk cId="162286515" sldId="2147483717"/>
              <pc:sldLayoutMk cId="233524713" sldId="2147483730"/>
              <ac:spMk id="19" creationId="{FD8EC8A8-538F-418B-8779-77DEB0A52A59}"/>
            </ac:spMkLst>
          </pc:spChg>
          <pc:spChg chg="mod modVis">
            <ac:chgData name="Baciu Lupascu, Raluca" userId="68b8499e-70c7-46a5-a7f5-08d4a146f234" providerId="ADAL" clId="{D306BB26-EB9F-4E01-A290-0111A7EB9CD4}" dt="2022-03-09T13:35:55.593" v="1103"/>
            <ac:spMkLst>
              <pc:docMk/>
              <pc:sldMasterMk cId="162286515" sldId="2147483717"/>
              <pc:sldLayoutMk cId="233524713" sldId="2147483730"/>
              <ac:spMk id="20" creationId="{A6862E4D-B72F-4CB2-A981-E6F069AAC9C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298" v="1825" actId="790"/>
          <pc:sldLayoutMkLst>
            <pc:docMk/>
            <pc:sldMasterMk cId="162286515" sldId="2147483717"/>
            <pc:sldLayoutMk cId="641229644" sldId="2147483731"/>
          </pc:sldLayoutMkLst>
          <pc:spChg chg="mod">
            <ac:chgData name="Baciu Lupascu, Raluca" userId="68b8499e-70c7-46a5-a7f5-08d4a146f234" providerId="ADAL" clId="{D306BB26-EB9F-4E01-A290-0111A7EB9CD4}" dt="2022-03-09T13:35:56.298" v="1825" actId="790"/>
            <ac:spMkLst>
              <pc:docMk/>
              <pc:sldMasterMk cId="162286515" sldId="2147483717"/>
              <pc:sldLayoutMk cId="641229644" sldId="2147483731"/>
              <ac:spMk id="6" creationId="{C43BA914-5104-45EC-B47B-AF6860250B7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71" v="1226"/>
            <ac:spMkLst>
              <pc:docMk/>
              <pc:sldMasterMk cId="162286515" sldId="2147483717"/>
              <pc:sldLayoutMk cId="641229644" sldId="2147483731"/>
              <ac:spMk id="15" creationId="{A4F32111-9F5F-47D1-8FA5-15FB4F65DC6A}"/>
            </ac:spMkLst>
          </pc:spChg>
          <pc:spChg chg="mod modVis">
            <ac:chgData name="Baciu Lupascu, Raluca" userId="68b8499e-70c7-46a5-a7f5-08d4a146f234" providerId="ADAL" clId="{D306BB26-EB9F-4E01-A290-0111A7EB9CD4}" dt="2022-03-09T13:35:55.646" v="1184"/>
            <ac:spMkLst>
              <pc:docMk/>
              <pc:sldMasterMk cId="162286515" sldId="2147483717"/>
              <pc:sldLayoutMk cId="641229644" sldId="2147483731"/>
              <ac:spMk id="17" creationId="{A565A0D1-29C1-4751-A3DE-B8D9766B712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19" v="1142"/>
            <ac:spMkLst>
              <pc:docMk/>
              <pc:sldMasterMk cId="162286515" sldId="2147483717"/>
              <pc:sldLayoutMk cId="641229644" sldId="2147483731"/>
              <ac:spMk id="18" creationId="{2020EDE3-6EDC-46BA-9114-0499D5A5E09E}"/>
            </ac:spMkLst>
          </pc:spChg>
          <pc:spChg chg="mod modVis">
            <ac:chgData name="Baciu Lupascu, Raluca" userId="68b8499e-70c7-46a5-a7f5-08d4a146f234" providerId="ADAL" clId="{D306BB26-EB9F-4E01-A290-0111A7EB9CD4}" dt="2022-03-09T13:35:55.591" v="1100"/>
            <ac:spMkLst>
              <pc:docMk/>
              <pc:sldMasterMk cId="162286515" sldId="2147483717"/>
              <pc:sldLayoutMk cId="641229644" sldId="2147483731"/>
              <ac:spMk id="19" creationId="{6E826D26-BB6D-4FDC-BF77-093C80E0D747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01" v="1828" actId="790"/>
          <pc:sldLayoutMkLst>
            <pc:docMk/>
            <pc:sldMasterMk cId="162286515" sldId="2147483717"/>
            <pc:sldLayoutMk cId="192508506" sldId="2147483732"/>
          </pc:sldLayoutMkLst>
          <pc:spChg chg="mod">
            <ac:chgData name="Baciu Lupascu, Raluca" userId="68b8499e-70c7-46a5-a7f5-08d4a146f234" providerId="ADAL" clId="{D306BB26-EB9F-4E01-A290-0111A7EB9CD4}" dt="2022-03-09T13:35:56.301" v="1828" actId="790"/>
            <ac:spMkLst>
              <pc:docMk/>
              <pc:sldMasterMk cId="162286515" sldId="2147483717"/>
              <pc:sldLayoutMk cId="192508506" sldId="2147483732"/>
              <ac:spMk id="6" creationId="{EFAD41F3-0F53-498D-8891-916DD8545BC8}"/>
            </ac:spMkLst>
          </pc:spChg>
          <pc:spChg chg="mod modVis">
            <ac:chgData name="Baciu Lupascu, Raluca" userId="68b8499e-70c7-46a5-a7f5-08d4a146f234" providerId="ADAL" clId="{D306BB26-EB9F-4E01-A290-0111A7EB9CD4}" dt="2022-03-09T13:35:55.683" v="1244"/>
            <ac:spMkLst>
              <pc:docMk/>
              <pc:sldMasterMk cId="162286515" sldId="2147483717"/>
              <pc:sldLayoutMk cId="192508506" sldId="2147483732"/>
              <ac:spMk id="14" creationId="{CE7A2DCD-19B9-4230-BE95-2102E5489DE2}"/>
            </ac:spMkLst>
          </pc:spChg>
          <pc:spChg chg="mod modVis">
            <ac:chgData name="Baciu Lupascu, Raluca" userId="68b8499e-70c7-46a5-a7f5-08d4a146f234" providerId="ADAL" clId="{D306BB26-EB9F-4E01-A290-0111A7EB9CD4}" dt="2022-03-09T13:35:55.657" v="1202"/>
            <ac:spMkLst>
              <pc:docMk/>
              <pc:sldMasterMk cId="162286515" sldId="2147483717"/>
              <pc:sldLayoutMk cId="192508506" sldId="2147483732"/>
              <ac:spMk id="15" creationId="{7EC192F8-B1F4-47DC-A746-001DCD5EE65A}"/>
            </ac:spMkLst>
          </pc:spChg>
          <pc:spChg chg="mod modVis">
            <ac:chgData name="Baciu Lupascu, Raluca" userId="68b8499e-70c7-46a5-a7f5-08d4a146f234" providerId="ADAL" clId="{D306BB26-EB9F-4E01-A290-0111A7EB9CD4}" dt="2022-03-09T13:35:55.629" v="1160"/>
            <ac:spMkLst>
              <pc:docMk/>
              <pc:sldMasterMk cId="162286515" sldId="2147483717"/>
              <pc:sldLayoutMk cId="192508506" sldId="2147483732"/>
              <ac:spMk id="16" creationId="{D2D4DE71-37CA-4C60-A882-0C4191E06E1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02" v="1118"/>
            <ac:spMkLst>
              <pc:docMk/>
              <pc:sldMasterMk cId="162286515" sldId="2147483717"/>
              <pc:sldLayoutMk cId="192508506" sldId="2147483732"/>
              <ac:spMk id="17" creationId="{6E8844C0-0B34-4969-933B-8EB54078E3B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04" v="1831" actId="790"/>
          <pc:sldLayoutMkLst>
            <pc:docMk/>
            <pc:sldMasterMk cId="162286515" sldId="2147483717"/>
            <pc:sldLayoutMk cId="3605376298" sldId="2147483733"/>
          </pc:sldLayoutMkLst>
          <pc:spChg chg="mod">
            <ac:chgData name="Baciu Lupascu, Raluca" userId="68b8499e-70c7-46a5-a7f5-08d4a146f234" providerId="ADAL" clId="{D306BB26-EB9F-4E01-A290-0111A7EB9CD4}" dt="2022-03-09T13:35:56.304" v="1831" actId="790"/>
            <ac:spMkLst>
              <pc:docMk/>
              <pc:sldMasterMk cId="162286515" sldId="2147483717"/>
              <pc:sldLayoutMk cId="3605376298" sldId="2147483733"/>
              <ac:spMk id="6" creationId="{965FFC57-6077-4AEA-8BDB-9C82DDC3C2D5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2" v="1211"/>
            <ac:spMkLst>
              <pc:docMk/>
              <pc:sldMasterMk cId="162286515" sldId="2147483717"/>
              <pc:sldLayoutMk cId="3605376298" sldId="2147483733"/>
              <ac:spMk id="14" creationId="{CE7A2DCD-19B9-4230-BE95-2102E5489DE2}"/>
            </ac:spMkLst>
          </pc:spChg>
          <pc:spChg chg="mod modVis">
            <ac:chgData name="Baciu Lupascu, Raluca" userId="68b8499e-70c7-46a5-a7f5-08d4a146f234" providerId="ADAL" clId="{D306BB26-EB9F-4E01-A290-0111A7EB9CD4}" dt="2022-03-09T13:35:55.634" v="1169"/>
            <ac:spMkLst>
              <pc:docMk/>
              <pc:sldMasterMk cId="162286515" sldId="2147483717"/>
              <pc:sldLayoutMk cId="3605376298" sldId="2147483733"/>
              <ac:spMk id="15" creationId="{7EC192F8-B1F4-47DC-A746-001DCD5EE65A}"/>
            </ac:spMkLst>
          </pc:spChg>
          <pc:spChg chg="mod modVis">
            <ac:chgData name="Baciu Lupascu, Raluca" userId="68b8499e-70c7-46a5-a7f5-08d4a146f234" providerId="ADAL" clId="{D306BB26-EB9F-4E01-A290-0111A7EB9CD4}" dt="2022-03-09T13:35:55.607" v="1127"/>
            <ac:spMkLst>
              <pc:docMk/>
              <pc:sldMasterMk cId="162286515" sldId="2147483717"/>
              <pc:sldLayoutMk cId="3605376298" sldId="2147483733"/>
              <ac:spMk id="16" creationId="{D2D4DE71-37CA-4C60-A882-0C4191E06E1D}"/>
            </ac:spMkLst>
          </pc:spChg>
          <pc:spChg chg="mod modVis">
            <ac:chgData name="Baciu Lupascu, Raluca" userId="68b8499e-70c7-46a5-a7f5-08d4a146f234" providerId="ADAL" clId="{D306BB26-EB9F-4E01-A290-0111A7EB9CD4}" dt="2022-03-09T13:35:55.581" v="1085"/>
            <ac:spMkLst>
              <pc:docMk/>
              <pc:sldMasterMk cId="162286515" sldId="2147483717"/>
              <pc:sldLayoutMk cId="3605376298" sldId="2147483733"/>
              <ac:spMk id="17" creationId="{6E8844C0-0B34-4969-933B-8EB54078E3B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07" v="1834" actId="790"/>
          <pc:sldLayoutMkLst>
            <pc:docMk/>
            <pc:sldMasterMk cId="162286515" sldId="2147483717"/>
            <pc:sldLayoutMk cId="1484802565" sldId="2147483734"/>
          </pc:sldLayoutMkLst>
          <pc:spChg chg="mod">
            <ac:chgData name="Baciu Lupascu, Raluca" userId="68b8499e-70c7-46a5-a7f5-08d4a146f234" providerId="ADAL" clId="{D306BB26-EB9F-4E01-A290-0111A7EB9CD4}" dt="2022-03-09T13:35:56.307" v="1834" actId="790"/>
            <ac:spMkLst>
              <pc:docMk/>
              <pc:sldMasterMk cId="162286515" sldId="2147483717"/>
              <pc:sldLayoutMk cId="1484802565" sldId="2147483734"/>
              <ac:spMk id="5" creationId="{B6CA0499-F19D-406D-B321-383D04CA1DC2}"/>
            </ac:spMkLst>
          </pc:spChg>
          <pc:spChg chg="mod modVis">
            <ac:chgData name="Baciu Lupascu, Raluca" userId="68b8499e-70c7-46a5-a7f5-08d4a146f234" providerId="ADAL" clId="{D306BB26-EB9F-4E01-A290-0111A7EB9CD4}" dt="2022-03-09T13:35:55.688" v="1250"/>
            <ac:spMkLst>
              <pc:docMk/>
              <pc:sldMasterMk cId="162286515" sldId="2147483717"/>
              <pc:sldLayoutMk cId="1484802565" sldId="2147483734"/>
              <ac:spMk id="13" creationId="{6BAB1632-9C6F-4747-8F5E-BBC921261A6C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1" v="1208"/>
            <ac:spMkLst>
              <pc:docMk/>
              <pc:sldMasterMk cId="162286515" sldId="2147483717"/>
              <pc:sldLayoutMk cId="1484802565" sldId="2147483734"/>
              <ac:spMk id="14" creationId="{A39E4CF0-29B6-43FF-86DF-891652331A3F}"/>
            </ac:spMkLst>
          </pc:spChg>
          <pc:spChg chg="mod modVis">
            <ac:chgData name="Baciu Lupascu, Raluca" userId="68b8499e-70c7-46a5-a7f5-08d4a146f234" providerId="ADAL" clId="{D306BB26-EB9F-4E01-A290-0111A7EB9CD4}" dt="2022-03-09T13:35:55.632" v="1166"/>
            <ac:spMkLst>
              <pc:docMk/>
              <pc:sldMasterMk cId="162286515" sldId="2147483717"/>
              <pc:sldLayoutMk cId="1484802565" sldId="2147483734"/>
              <ac:spMk id="15" creationId="{ADC13DB3-94D1-4BAF-8174-DC397C080821}"/>
            </ac:spMkLst>
          </pc:spChg>
          <pc:spChg chg="mod modVis">
            <ac:chgData name="Baciu Lupascu, Raluca" userId="68b8499e-70c7-46a5-a7f5-08d4a146f234" providerId="ADAL" clId="{D306BB26-EB9F-4E01-A290-0111A7EB9CD4}" dt="2022-03-09T13:35:55.605" v="1124"/>
            <ac:spMkLst>
              <pc:docMk/>
              <pc:sldMasterMk cId="162286515" sldId="2147483717"/>
              <pc:sldLayoutMk cId="1484802565" sldId="2147483734"/>
              <ac:spMk id="16" creationId="{64A8EFFA-7D94-4C22-A264-9815DFCCF529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10" v="1837" actId="790"/>
          <pc:sldLayoutMkLst>
            <pc:docMk/>
            <pc:sldMasterMk cId="162286515" sldId="2147483717"/>
            <pc:sldLayoutMk cId="3543267231" sldId="2147483735"/>
          </pc:sldLayoutMkLst>
          <pc:spChg chg="mod">
            <ac:chgData name="Baciu Lupascu, Raluca" userId="68b8499e-70c7-46a5-a7f5-08d4a146f234" providerId="ADAL" clId="{D306BB26-EB9F-4E01-A290-0111A7EB9CD4}" dt="2022-03-09T13:35:56.310" v="1837" actId="790"/>
            <ac:spMkLst>
              <pc:docMk/>
              <pc:sldMasterMk cId="162286515" sldId="2147483717"/>
              <pc:sldLayoutMk cId="3543267231" sldId="2147483735"/>
              <ac:spMk id="10" creationId="{6A9946D1-1433-410B-A659-FFBB2ADD370F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13" v="1840" actId="790"/>
          <pc:sldLayoutMkLst>
            <pc:docMk/>
            <pc:sldMasterMk cId="162286515" sldId="2147483717"/>
            <pc:sldLayoutMk cId="4216788021" sldId="2147483736"/>
          </pc:sldLayoutMkLst>
          <pc:spChg chg="mod">
            <ac:chgData name="Baciu Lupascu, Raluca" userId="68b8499e-70c7-46a5-a7f5-08d4a146f234" providerId="ADAL" clId="{D306BB26-EB9F-4E01-A290-0111A7EB9CD4}" dt="2022-03-09T13:35:56.313" v="1840" actId="790"/>
            <ac:spMkLst>
              <pc:docMk/>
              <pc:sldMasterMk cId="162286515" sldId="2147483717"/>
              <pc:sldLayoutMk cId="4216788021" sldId="2147483736"/>
              <ac:spMk id="3" creationId="{C5948588-E55D-4D65-ABDF-CE08CF90CF2A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15" v="1843" actId="790"/>
          <pc:sldLayoutMkLst>
            <pc:docMk/>
            <pc:sldMasterMk cId="162286515" sldId="2147483717"/>
            <pc:sldLayoutMk cId="281552480" sldId="2147483737"/>
          </pc:sldLayoutMkLst>
          <pc:spChg chg="mod">
            <ac:chgData name="Baciu Lupascu, Raluca" userId="68b8499e-70c7-46a5-a7f5-08d4a146f234" providerId="ADAL" clId="{D306BB26-EB9F-4E01-A290-0111A7EB9CD4}" dt="2022-03-09T13:35:56.315" v="1843" actId="790"/>
            <ac:spMkLst>
              <pc:docMk/>
              <pc:sldMasterMk cId="162286515" sldId="2147483717"/>
              <pc:sldLayoutMk cId="281552480" sldId="2147483737"/>
              <ac:spMk id="5" creationId="{176DFA53-C115-4C27-AAB1-B1BD38BC3B2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18" v="1846" actId="790"/>
          <pc:sldLayoutMkLst>
            <pc:docMk/>
            <pc:sldMasterMk cId="162286515" sldId="2147483717"/>
            <pc:sldLayoutMk cId="161974516" sldId="2147483738"/>
          </pc:sldLayoutMkLst>
          <pc:spChg chg="mod">
            <ac:chgData name="Baciu Lupascu, Raluca" userId="68b8499e-70c7-46a5-a7f5-08d4a146f234" providerId="ADAL" clId="{D306BB26-EB9F-4E01-A290-0111A7EB9CD4}" dt="2022-03-09T13:35:56.318" v="1846" actId="790"/>
            <ac:spMkLst>
              <pc:docMk/>
              <pc:sldMasterMk cId="162286515" sldId="2147483717"/>
              <pc:sldLayoutMk cId="161974516" sldId="2147483738"/>
              <ac:spMk id="2" creationId="{F216EF78-F960-4DDD-A05D-51C3ED2FA98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22" v="1849" actId="790"/>
          <pc:sldLayoutMkLst>
            <pc:docMk/>
            <pc:sldMasterMk cId="162286515" sldId="2147483717"/>
            <pc:sldLayoutMk cId="84717769" sldId="2147483739"/>
          </pc:sldLayoutMkLst>
          <pc:spChg chg="mod">
            <ac:chgData name="Baciu Lupascu, Raluca" userId="68b8499e-70c7-46a5-a7f5-08d4a146f234" providerId="ADAL" clId="{D306BB26-EB9F-4E01-A290-0111A7EB9CD4}" dt="2022-03-09T13:35:56.322" v="1849" actId="790"/>
            <ac:spMkLst>
              <pc:docMk/>
              <pc:sldMasterMk cId="162286515" sldId="2147483717"/>
              <pc:sldLayoutMk cId="84717769" sldId="2147483739"/>
              <ac:spMk id="6" creationId="{47E0B444-4054-4052-A13B-B11BD7B3084D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9" v="1223"/>
            <ac:spMkLst>
              <pc:docMk/>
              <pc:sldMasterMk cId="162286515" sldId="2147483717"/>
              <pc:sldLayoutMk cId="84717769" sldId="2147483739"/>
              <ac:spMk id="18" creationId="{05851F18-0C9E-4DD0-B776-B4E60644EFEA}"/>
            </ac:spMkLst>
          </pc:spChg>
          <pc:spChg chg="mod modVis">
            <ac:chgData name="Baciu Lupascu, Raluca" userId="68b8499e-70c7-46a5-a7f5-08d4a146f234" providerId="ADAL" clId="{D306BB26-EB9F-4E01-A290-0111A7EB9CD4}" dt="2022-03-09T13:35:55.643" v="1181"/>
            <ac:spMkLst>
              <pc:docMk/>
              <pc:sldMasterMk cId="162286515" sldId="2147483717"/>
              <pc:sldLayoutMk cId="84717769" sldId="2147483739"/>
              <ac:spMk id="19" creationId="{D9408A6E-02FF-4400-956C-1FF1870921A7}"/>
            </ac:spMkLst>
          </pc:spChg>
          <pc:spChg chg="mod modVis">
            <ac:chgData name="Baciu Lupascu, Raluca" userId="68b8499e-70c7-46a5-a7f5-08d4a146f234" providerId="ADAL" clId="{D306BB26-EB9F-4E01-A290-0111A7EB9CD4}" dt="2022-03-09T13:35:55.617" v="1139"/>
            <ac:spMkLst>
              <pc:docMk/>
              <pc:sldMasterMk cId="162286515" sldId="2147483717"/>
              <pc:sldLayoutMk cId="84717769" sldId="2147483739"/>
              <ac:spMk id="20" creationId="{9D157CC6-A0A6-4AB4-AFAD-32EC3D20B9F7}"/>
            </ac:spMkLst>
          </pc:spChg>
          <pc:spChg chg="mod modVis">
            <ac:chgData name="Baciu Lupascu, Raluca" userId="68b8499e-70c7-46a5-a7f5-08d4a146f234" providerId="ADAL" clId="{D306BB26-EB9F-4E01-A290-0111A7EB9CD4}" dt="2022-03-09T13:35:55.589" v="1097"/>
            <ac:spMkLst>
              <pc:docMk/>
              <pc:sldMasterMk cId="162286515" sldId="2147483717"/>
              <pc:sldLayoutMk cId="84717769" sldId="2147483739"/>
              <ac:spMk id="21" creationId="{B1CA1B1F-6C24-4D70-B043-F9A04941A4A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25" v="1852" actId="790"/>
          <pc:sldLayoutMkLst>
            <pc:docMk/>
            <pc:sldMasterMk cId="162286515" sldId="2147483717"/>
            <pc:sldLayoutMk cId="129736315" sldId="2147483740"/>
          </pc:sldLayoutMkLst>
          <pc:spChg chg="mod">
            <ac:chgData name="Baciu Lupascu, Raluca" userId="68b8499e-70c7-46a5-a7f5-08d4a146f234" providerId="ADAL" clId="{D306BB26-EB9F-4E01-A290-0111A7EB9CD4}" dt="2022-03-09T13:35:56.325" v="1852" actId="790"/>
            <ac:spMkLst>
              <pc:docMk/>
              <pc:sldMasterMk cId="162286515" sldId="2147483717"/>
              <pc:sldLayoutMk cId="129736315" sldId="2147483740"/>
              <ac:spMk id="6" creationId="{DBE35D26-FC61-4045-940E-5F22C367662F}"/>
            </ac:spMkLst>
          </pc:spChg>
          <pc:spChg chg="mod modVis">
            <ac:chgData name="Baciu Lupascu, Raluca" userId="68b8499e-70c7-46a5-a7f5-08d4a146f234" providerId="ADAL" clId="{D306BB26-EB9F-4E01-A290-0111A7EB9CD4}" dt="2022-03-09T13:35:55.685" v="1247"/>
            <ac:spMkLst>
              <pc:docMk/>
              <pc:sldMasterMk cId="162286515" sldId="2147483717"/>
              <pc:sldLayoutMk cId="129736315" sldId="2147483740"/>
              <ac:spMk id="11" creationId="{7D1AE2D1-92EA-4E37-8A5F-F31ED6BED783}"/>
            </ac:spMkLst>
          </pc:spChg>
          <pc:spChg chg="mod modVis">
            <ac:chgData name="Baciu Lupascu, Raluca" userId="68b8499e-70c7-46a5-a7f5-08d4a146f234" providerId="ADAL" clId="{D306BB26-EB9F-4E01-A290-0111A7EB9CD4}" dt="2022-03-09T13:35:55.659" v="1205"/>
            <ac:spMkLst>
              <pc:docMk/>
              <pc:sldMasterMk cId="162286515" sldId="2147483717"/>
              <pc:sldLayoutMk cId="129736315" sldId="2147483740"/>
              <ac:spMk id="15" creationId="{2B836A30-9063-4E81-90C3-717FA2E9D666}"/>
            </ac:spMkLst>
          </pc:spChg>
          <pc:spChg chg="mod modVis">
            <ac:chgData name="Baciu Lupascu, Raluca" userId="68b8499e-70c7-46a5-a7f5-08d4a146f234" providerId="ADAL" clId="{D306BB26-EB9F-4E01-A290-0111A7EB9CD4}" dt="2022-03-09T13:35:55.631" v="1163"/>
            <ac:spMkLst>
              <pc:docMk/>
              <pc:sldMasterMk cId="162286515" sldId="2147483717"/>
              <pc:sldLayoutMk cId="129736315" sldId="2147483740"/>
              <ac:spMk id="16" creationId="{C138A886-25C1-48B9-9C2A-A161924C947B}"/>
            </ac:spMkLst>
          </pc:spChg>
          <pc:spChg chg="mod modVis">
            <ac:chgData name="Baciu Lupascu, Raluca" userId="68b8499e-70c7-46a5-a7f5-08d4a146f234" providerId="ADAL" clId="{D306BB26-EB9F-4E01-A290-0111A7EB9CD4}" dt="2022-03-09T13:35:55.603" v="1121"/>
            <ac:spMkLst>
              <pc:docMk/>
              <pc:sldMasterMk cId="162286515" sldId="2147483717"/>
              <pc:sldLayoutMk cId="129736315" sldId="2147483740"/>
              <ac:spMk id="17" creationId="{FA1AEB5C-4AD7-45EB-9C78-BEA5B35C960C}"/>
            </ac:spMkLst>
          </pc:spChg>
        </pc:sldLayoutChg>
        <pc:sldLayoutChg chg="modSp mod">
          <pc:chgData name="Baciu Lupascu, Raluca" userId="68b8499e-70c7-46a5-a7f5-08d4a146f234" providerId="ADAL" clId="{D306BB26-EB9F-4E01-A290-0111A7EB9CD4}" dt="2022-03-09T13:35:56.328" v="1855" actId="790"/>
          <pc:sldLayoutMkLst>
            <pc:docMk/>
            <pc:sldMasterMk cId="162286515" sldId="2147483717"/>
            <pc:sldLayoutMk cId="316229742" sldId="2147483741"/>
          </pc:sldLayoutMkLst>
          <pc:spChg chg="mod">
            <ac:chgData name="Baciu Lupascu, Raluca" userId="68b8499e-70c7-46a5-a7f5-08d4a146f234" providerId="ADAL" clId="{D306BB26-EB9F-4E01-A290-0111A7EB9CD4}" dt="2022-03-09T13:35:56.328" v="1855" actId="790"/>
            <ac:spMkLst>
              <pc:docMk/>
              <pc:sldMasterMk cId="162286515" sldId="2147483717"/>
              <pc:sldLayoutMk cId="316229742" sldId="2147483741"/>
              <ac:spMk id="6" creationId="{95AAEF45-A137-434D-A4B8-D75B643937A1}"/>
            </ac:spMkLst>
          </pc:spChg>
          <pc:spChg chg="mod modVis">
            <ac:chgData name="Baciu Lupascu, Raluca" userId="68b8499e-70c7-46a5-a7f5-08d4a146f234" providerId="ADAL" clId="{D306BB26-EB9F-4E01-A290-0111A7EB9CD4}" dt="2022-03-09T13:35:55.667" v="1220"/>
            <ac:spMkLst>
              <pc:docMk/>
              <pc:sldMasterMk cId="162286515" sldId="2147483717"/>
              <pc:sldLayoutMk cId="316229742" sldId="2147483741"/>
              <ac:spMk id="18" creationId="{0BC6F472-70FC-455A-BA0A-031497632A29}"/>
            </ac:spMkLst>
          </pc:spChg>
          <pc:spChg chg="mod modVis">
            <ac:chgData name="Baciu Lupascu, Raluca" userId="68b8499e-70c7-46a5-a7f5-08d4a146f234" providerId="ADAL" clId="{D306BB26-EB9F-4E01-A290-0111A7EB9CD4}" dt="2022-03-09T13:35:55.641" v="1178"/>
            <ac:spMkLst>
              <pc:docMk/>
              <pc:sldMasterMk cId="162286515" sldId="2147483717"/>
              <pc:sldLayoutMk cId="316229742" sldId="2147483741"/>
              <ac:spMk id="19" creationId="{08D8DE0F-7017-4D43-8BC5-1316FA5C0AA2}"/>
            </ac:spMkLst>
          </pc:spChg>
          <pc:spChg chg="mod modVis">
            <ac:chgData name="Baciu Lupascu, Raluca" userId="68b8499e-70c7-46a5-a7f5-08d4a146f234" providerId="ADAL" clId="{D306BB26-EB9F-4E01-A290-0111A7EB9CD4}" dt="2022-03-09T13:35:55.615" v="1136"/>
            <ac:spMkLst>
              <pc:docMk/>
              <pc:sldMasterMk cId="162286515" sldId="2147483717"/>
              <pc:sldLayoutMk cId="316229742" sldId="2147483741"/>
              <ac:spMk id="20" creationId="{EEC07142-17B8-4453-B2BB-77D6CD2405C7}"/>
            </ac:spMkLst>
          </pc:spChg>
          <pc:spChg chg="mod modVis">
            <ac:chgData name="Baciu Lupascu, Raluca" userId="68b8499e-70c7-46a5-a7f5-08d4a146f234" providerId="ADAL" clId="{D306BB26-EB9F-4E01-A290-0111A7EB9CD4}" dt="2022-03-09T13:35:55.587" v="1094"/>
            <ac:spMkLst>
              <pc:docMk/>
              <pc:sldMasterMk cId="162286515" sldId="2147483717"/>
              <pc:sldLayoutMk cId="316229742" sldId="2147483741"/>
              <ac:spMk id="21" creationId="{14AE16D3-B89C-4E97-BF3F-5500CFF99363}"/>
            </ac:spMkLst>
          </pc:spChg>
        </pc:sldLayoutChg>
        <pc:sldLayoutChg chg="addSp delSp modSp del mod">
          <pc:chgData name="Baciu Lupascu, Raluca" userId="68b8499e-70c7-46a5-a7f5-08d4a146f234" providerId="ADAL" clId="{D306BB26-EB9F-4E01-A290-0111A7EB9CD4}" dt="2022-03-09T13:35:49.075" v="663" actId="2696"/>
          <pc:sldLayoutMkLst>
            <pc:docMk/>
            <pc:sldMasterMk cId="162286515" sldId="2147483717"/>
            <pc:sldLayoutMk cId="2995917247" sldId="2147483742"/>
          </pc:sldLayoutMkLst>
          <pc:spChg chg="add del mod">
            <ac:chgData name="Baciu Lupascu, Raluca" userId="68b8499e-70c7-46a5-a7f5-08d4a146f234" providerId="ADAL" clId="{D306BB26-EB9F-4E01-A290-0111A7EB9CD4}" dt="2022-03-09T13:35:48.325" v="100"/>
            <ac:spMkLst>
              <pc:docMk/>
              <pc:sldMasterMk cId="162286515" sldId="2147483717"/>
              <pc:sldLayoutMk cId="2995917247" sldId="2147483742"/>
              <ac:spMk id="4" creationId="{519D5A17-5057-411D-9325-479FB5F78A22}"/>
            </ac:spMkLst>
          </pc:spChg>
          <pc:spChg chg="add del mod">
            <ac:chgData name="Baciu Lupascu, Raluca" userId="68b8499e-70c7-46a5-a7f5-08d4a146f234" providerId="ADAL" clId="{D306BB26-EB9F-4E01-A290-0111A7EB9CD4}" dt="2022-03-09T13:35:49.069" v="662"/>
            <ac:spMkLst>
              <pc:docMk/>
              <pc:sldMasterMk cId="162286515" sldId="2147483717"/>
              <pc:sldLayoutMk cId="2995917247" sldId="2147483742"/>
              <ac:spMk id="5" creationId="{9B5F72FC-1CF3-4DF1-8E72-30357443CF41}"/>
            </ac:spMkLst>
          </pc:spChg>
          <pc:spChg chg="del">
            <ac:chgData name="Baciu Lupascu, Raluca" userId="68b8499e-70c7-46a5-a7f5-08d4a146f234" providerId="ADAL" clId="{D306BB26-EB9F-4E01-A290-0111A7EB9CD4}" dt="2022-03-09T13:35:47.210" v="2"/>
            <ac:spMkLst>
              <pc:docMk/>
              <pc:sldMasterMk cId="162286515" sldId="2147483717"/>
              <pc:sldLayoutMk cId="2995917247" sldId="2147483742"/>
              <ac:spMk id="9" creationId="{00000000-0000-0000-0000-000000000000}"/>
            </ac:spMkLst>
          </pc:spChg>
          <pc:spChg chg="del">
            <ac:chgData name="Baciu Lupascu, Raluca" userId="68b8499e-70c7-46a5-a7f5-08d4a146f234" providerId="ADAL" clId="{D306BB26-EB9F-4E01-A290-0111A7EB9CD4}" dt="2022-03-09T13:35:47.210" v="2"/>
            <ac:spMkLst>
              <pc:docMk/>
              <pc:sldMasterMk cId="162286515" sldId="2147483717"/>
              <pc:sldLayoutMk cId="2995917247" sldId="2147483742"/>
              <ac:spMk id="12" creationId="{00000000-0000-0000-0000-000000000000}"/>
            </ac:spMkLst>
          </pc:spChg>
          <pc:cxnChg chg="del">
            <ac:chgData name="Baciu Lupascu, Raluca" userId="68b8499e-70c7-46a5-a7f5-08d4a146f234" providerId="ADAL" clId="{D306BB26-EB9F-4E01-A290-0111A7EB9CD4}" dt="2022-03-09T13:35:47.210" v="2"/>
            <ac:cxnSpMkLst>
              <pc:docMk/>
              <pc:sldMasterMk cId="162286515" sldId="2147483717"/>
              <pc:sldLayoutMk cId="2995917247" sldId="2147483742"/>
              <ac:cxnSpMk id="14" creationId="{00000000-0000-0000-0000-000000000000}"/>
            </ac:cxnSpMkLst>
          </pc:cxnChg>
          <pc:cxnChg chg="del">
            <ac:chgData name="Baciu Lupascu, Raluca" userId="68b8499e-70c7-46a5-a7f5-08d4a146f234" providerId="ADAL" clId="{D306BB26-EB9F-4E01-A290-0111A7EB9CD4}" dt="2022-03-09T13:35:47.210" v="2"/>
            <ac:cxnSpMkLst>
              <pc:docMk/>
              <pc:sldMasterMk cId="162286515" sldId="2147483717"/>
              <pc:sldLayoutMk cId="2995917247" sldId="2147483742"/>
              <ac:cxnSpMk id="15" creationId="{00000000-0000-0000-0000-000000000000}"/>
            </ac:cxnSpMkLst>
          </pc:cxnChg>
          <pc:cxnChg chg="del">
            <ac:chgData name="Baciu Lupascu, Raluca" userId="68b8499e-70c7-46a5-a7f5-08d4a146f234" providerId="ADAL" clId="{D306BB26-EB9F-4E01-A290-0111A7EB9CD4}" dt="2022-03-09T13:35:47.210" v="2"/>
            <ac:cxnSpMkLst>
              <pc:docMk/>
              <pc:sldMasterMk cId="162286515" sldId="2147483717"/>
              <pc:sldLayoutMk cId="2995917247" sldId="2147483742"/>
              <ac:cxnSpMk id="16" creationId="{00000000-0000-0000-0000-000000000000}"/>
            </ac:cxnSpMkLst>
          </pc:cxnChg>
          <pc:cxnChg chg="del">
            <ac:chgData name="Baciu Lupascu, Raluca" userId="68b8499e-70c7-46a5-a7f5-08d4a146f234" providerId="ADAL" clId="{D306BB26-EB9F-4E01-A290-0111A7EB9CD4}" dt="2022-03-09T13:35:47.210" v="2"/>
            <ac:cxnSpMkLst>
              <pc:docMk/>
              <pc:sldMasterMk cId="162286515" sldId="2147483717"/>
              <pc:sldLayoutMk cId="2995917247" sldId="2147483742"/>
              <ac:cxnSpMk id="17" creationId="{00000000-0000-0000-0000-000000000000}"/>
            </ac:cxnSpMkLst>
          </pc:cxnChg>
        </pc:sldLayoutChg>
        <pc:sldLayoutChg chg="addSp delSp modSp del mod">
          <pc:chgData name="Baciu Lupascu, Raluca" userId="68b8499e-70c7-46a5-a7f5-08d4a146f234" providerId="ADAL" clId="{D306BB26-EB9F-4E01-A290-0111A7EB9CD4}" dt="2022-03-09T13:35:49.062" v="658" actId="2696"/>
          <pc:sldLayoutMkLst>
            <pc:docMk/>
            <pc:sldMasterMk cId="162286515" sldId="2147483717"/>
            <pc:sldLayoutMk cId="1941613375" sldId="2147483743"/>
          </pc:sldLayoutMkLst>
          <pc:spChg chg="add del mod">
            <ac:chgData name="Baciu Lupascu, Raluca" userId="68b8499e-70c7-46a5-a7f5-08d4a146f234" providerId="ADAL" clId="{D306BB26-EB9F-4E01-A290-0111A7EB9CD4}" dt="2022-03-09T13:35:48.347" v="109"/>
            <ac:spMkLst>
              <pc:docMk/>
              <pc:sldMasterMk cId="162286515" sldId="2147483717"/>
              <pc:sldLayoutMk cId="1941613375" sldId="2147483743"/>
              <ac:spMk id="2" creationId="{96C1144F-096C-4887-B282-37EEC7C351AB}"/>
            </ac:spMkLst>
          </pc:spChg>
          <pc:spChg chg="add del mod">
            <ac:chgData name="Baciu Lupascu, Raluca" userId="68b8499e-70c7-46a5-a7f5-08d4a146f234" providerId="ADAL" clId="{D306BB26-EB9F-4E01-A290-0111A7EB9CD4}" dt="2022-03-09T13:35:48.367" v="121"/>
            <ac:spMkLst>
              <pc:docMk/>
              <pc:sldMasterMk cId="162286515" sldId="2147483717"/>
              <pc:sldLayoutMk cId="1941613375" sldId="2147483743"/>
              <ac:spMk id="4" creationId="{A9677B72-88EA-449F-BB66-9C93F4AEDB0B}"/>
            </ac:spMkLst>
          </pc:spChg>
          <pc:spChg chg="add del mod">
            <ac:chgData name="Baciu Lupascu, Raluca" userId="68b8499e-70c7-46a5-a7f5-08d4a146f234" providerId="ADAL" clId="{D306BB26-EB9F-4E01-A290-0111A7EB9CD4}" dt="2022-03-09T13:35:48.388" v="133"/>
            <ac:spMkLst>
              <pc:docMk/>
              <pc:sldMasterMk cId="162286515" sldId="2147483717"/>
              <pc:sldLayoutMk cId="1941613375" sldId="2147483743"/>
              <ac:spMk id="5" creationId="{F4F161A8-3E5F-4C32-921C-CC616CB165D3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07" v="145"/>
            <ac:spMkLst>
              <pc:docMk/>
              <pc:sldMasterMk cId="162286515" sldId="2147483717"/>
              <pc:sldLayoutMk cId="1941613375" sldId="2147483743"/>
              <ac:spMk id="6" creationId="{04CB4DDE-5FE7-4261-98F8-9A5177301D92}"/>
            </ac:spMkLst>
          </pc:spChg>
          <pc:spChg chg="del">
            <ac:chgData name="Baciu Lupascu, Raluca" userId="68b8499e-70c7-46a5-a7f5-08d4a146f234" providerId="ADAL" clId="{D306BB26-EB9F-4E01-A290-0111A7EB9CD4}" dt="2022-03-09T13:35:47.210" v="2"/>
            <ac:spMkLst>
              <pc:docMk/>
              <pc:sldMasterMk cId="162286515" sldId="2147483717"/>
              <pc:sldLayoutMk cId="1941613375" sldId="2147483743"/>
              <ac:spMk id="7" creationId="{622A3852-67A8-4F36-8EC8-4C5A7DF5D395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25" v="157"/>
            <ac:spMkLst>
              <pc:docMk/>
              <pc:sldMasterMk cId="162286515" sldId="2147483717"/>
              <pc:sldLayoutMk cId="1941613375" sldId="2147483743"/>
              <ac:spMk id="12" creationId="{561B5438-19BA-468D-B01F-470EB4C8E642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43" v="169"/>
            <ac:spMkLst>
              <pc:docMk/>
              <pc:sldMasterMk cId="162286515" sldId="2147483717"/>
              <pc:sldLayoutMk cId="1941613375" sldId="2147483743"/>
              <ac:spMk id="13" creationId="{A40069DF-ABF1-45F8-946B-A25ECC91F949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60" v="181"/>
            <ac:spMkLst>
              <pc:docMk/>
              <pc:sldMasterMk cId="162286515" sldId="2147483717"/>
              <pc:sldLayoutMk cId="1941613375" sldId="2147483743"/>
              <ac:spMk id="14" creationId="{66CAC4E8-E28C-4710-81A1-936999517F1D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77" v="193"/>
            <ac:spMkLst>
              <pc:docMk/>
              <pc:sldMasterMk cId="162286515" sldId="2147483717"/>
              <pc:sldLayoutMk cId="1941613375" sldId="2147483743"/>
              <ac:spMk id="15" creationId="{0855DFB5-A68B-4B95-9195-72A507485758}"/>
            </ac:spMkLst>
          </pc:spChg>
          <pc:spChg chg="add del mod">
            <ac:chgData name="Baciu Lupascu, Raluca" userId="68b8499e-70c7-46a5-a7f5-08d4a146f234" providerId="ADAL" clId="{D306BB26-EB9F-4E01-A290-0111A7EB9CD4}" dt="2022-03-09T13:35:48.495" v="205"/>
            <ac:spMkLst>
              <pc:docMk/>
              <pc:sldMasterMk cId="162286515" sldId="2147483717"/>
              <pc:sldLayoutMk cId="1941613375" sldId="2147483743"/>
              <ac:spMk id="16" creationId="{5B503A08-B635-4CA3-BE0F-0FAE35CCE2CB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12" v="217"/>
            <ac:spMkLst>
              <pc:docMk/>
              <pc:sldMasterMk cId="162286515" sldId="2147483717"/>
              <pc:sldLayoutMk cId="1941613375" sldId="2147483743"/>
              <ac:spMk id="17" creationId="{F345B0C8-6F15-471C-8BC7-5805BCEAFA8C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29" v="229"/>
            <ac:spMkLst>
              <pc:docMk/>
              <pc:sldMasterMk cId="162286515" sldId="2147483717"/>
              <pc:sldLayoutMk cId="1941613375" sldId="2147483743"/>
              <ac:spMk id="18" creationId="{41C29BD5-72F5-4E58-9DEB-6F088F2DF563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44" v="240"/>
            <ac:spMkLst>
              <pc:docMk/>
              <pc:sldMasterMk cId="162286515" sldId="2147483717"/>
              <pc:sldLayoutMk cId="1941613375" sldId="2147483743"/>
              <ac:spMk id="19" creationId="{F28307F9-2DDE-4D66-809A-6FAA7BCAF360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60" v="252"/>
            <ac:spMkLst>
              <pc:docMk/>
              <pc:sldMasterMk cId="162286515" sldId="2147483717"/>
              <pc:sldLayoutMk cId="1941613375" sldId="2147483743"/>
              <ac:spMk id="20" creationId="{F0DE69E2-5EF7-481E-9247-07768EF2C57F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75" v="263"/>
            <ac:spMkLst>
              <pc:docMk/>
              <pc:sldMasterMk cId="162286515" sldId="2147483717"/>
              <pc:sldLayoutMk cId="1941613375" sldId="2147483743"/>
              <ac:spMk id="21" creationId="{862DD677-DC78-4C69-ACEA-FB9A10F81A29}"/>
            </ac:spMkLst>
          </pc:spChg>
          <pc:spChg chg="add del mod">
            <ac:chgData name="Baciu Lupascu, Raluca" userId="68b8499e-70c7-46a5-a7f5-08d4a146f234" providerId="ADAL" clId="{D306BB26-EB9F-4E01-A290-0111A7EB9CD4}" dt="2022-03-09T13:35:48.589" v="274"/>
            <ac:spMkLst>
              <pc:docMk/>
              <pc:sldMasterMk cId="162286515" sldId="2147483717"/>
              <pc:sldLayoutMk cId="1941613375" sldId="2147483743"/>
              <ac:spMk id="22" creationId="{6FC3184E-45BA-4682-B464-22D8B22BE44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03" v="285"/>
            <ac:spMkLst>
              <pc:docMk/>
              <pc:sldMasterMk cId="162286515" sldId="2147483717"/>
              <pc:sldLayoutMk cId="1941613375" sldId="2147483743"/>
              <ac:spMk id="23" creationId="{702681B4-FB9D-40C2-83E3-D686F0A98F1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17" v="297"/>
            <ac:spMkLst>
              <pc:docMk/>
              <pc:sldMasterMk cId="162286515" sldId="2147483717"/>
              <pc:sldLayoutMk cId="1941613375" sldId="2147483743"/>
              <ac:spMk id="24" creationId="{D1534014-17F9-4006-86B2-98D6FC9D8EC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31" v="309"/>
            <ac:spMkLst>
              <pc:docMk/>
              <pc:sldMasterMk cId="162286515" sldId="2147483717"/>
              <pc:sldLayoutMk cId="1941613375" sldId="2147483743"/>
              <ac:spMk id="25" creationId="{9CF7B359-A153-4F21-B6F8-1E4579C4EFF4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44" v="320"/>
            <ac:spMkLst>
              <pc:docMk/>
              <pc:sldMasterMk cId="162286515" sldId="2147483717"/>
              <pc:sldLayoutMk cId="1941613375" sldId="2147483743"/>
              <ac:spMk id="26" creationId="{5026AA04-CC18-46CE-9CF5-4B3245421522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57" v="331"/>
            <ac:spMkLst>
              <pc:docMk/>
              <pc:sldMasterMk cId="162286515" sldId="2147483717"/>
              <pc:sldLayoutMk cId="1941613375" sldId="2147483743"/>
              <ac:spMk id="27" creationId="{C14CDA38-36B1-4305-BFAA-20B784A654A0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71" v="342"/>
            <ac:spMkLst>
              <pc:docMk/>
              <pc:sldMasterMk cId="162286515" sldId="2147483717"/>
              <pc:sldLayoutMk cId="1941613375" sldId="2147483743"/>
              <ac:spMk id="28" creationId="{BB3FB78A-1D4A-4665-8A35-5C9E990B9DB6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85" v="354"/>
            <ac:spMkLst>
              <pc:docMk/>
              <pc:sldMasterMk cId="162286515" sldId="2147483717"/>
              <pc:sldLayoutMk cId="1941613375" sldId="2147483743"/>
              <ac:spMk id="29" creationId="{F134C7BF-DB55-48EB-9ECB-5DCCBF8B0C12}"/>
            </ac:spMkLst>
          </pc:spChg>
          <pc:spChg chg="add del mod">
            <ac:chgData name="Baciu Lupascu, Raluca" userId="68b8499e-70c7-46a5-a7f5-08d4a146f234" providerId="ADAL" clId="{D306BB26-EB9F-4E01-A290-0111A7EB9CD4}" dt="2022-03-09T13:35:48.698" v="366"/>
            <ac:spMkLst>
              <pc:docMk/>
              <pc:sldMasterMk cId="162286515" sldId="2147483717"/>
              <pc:sldLayoutMk cId="1941613375" sldId="2147483743"/>
              <ac:spMk id="30" creationId="{A148BB66-F170-46DF-87B6-F20F63B40AAD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11" v="378"/>
            <ac:spMkLst>
              <pc:docMk/>
              <pc:sldMasterMk cId="162286515" sldId="2147483717"/>
              <pc:sldLayoutMk cId="1941613375" sldId="2147483743"/>
              <ac:spMk id="31" creationId="{48EEBB67-0E5D-4F9A-88D5-CA82A3AE04E7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25" v="390"/>
            <ac:spMkLst>
              <pc:docMk/>
              <pc:sldMasterMk cId="162286515" sldId="2147483717"/>
              <pc:sldLayoutMk cId="1941613375" sldId="2147483743"/>
              <ac:spMk id="32" creationId="{9DD5745E-DE50-4B7A-8395-3A94619A6448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40" v="402"/>
            <ac:spMkLst>
              <pc:docMk/>
              <pc:sldMasterMk cId="162286515" sldId="2147483717"/>
              <pc:sldLayoutMk cId="1941613375" sldId="2147483743"/>
              <ac:spMk id="33" creationId="{2D439D0C-2031-4B70-A089-DDA7FD3107D8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52" v="413"/>
            <ac:spMkLst>
              <pc:docMk/>
              <pc:sldMasterMk cId="162286515" sldId="2147483717"/>
              <pc:sldLayoutMk cId="1941613375" sldId="2147483743"/>
              <ac:spMk id="34" creationId="{F8DFADC7-5DB2-4184-A2D7-81AE6AA37295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65" v="425"/>
            <ac:spMkLst>
              <pc:docMk/>
              <pc:sldMasterMk cId="162286515" sldId="2147483717"/>
              <pc:sldLayoutMk cId="1941613375" sldId="2147483743"/>
              <ac:spMk id="35" creationId="{3CAB4076-FF44-4752-8B18-0152E6B79E17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79" v="437"/>
            <ac:spMkLst>
              <pc:docMk/>
              <pc:sldMasterMk cId="162286515" sldId="2147483717"/>
              <pc:sldLayoutMk cId="1941613375" sldId="2147483743"/>
              <ac:spMk id="36" creationId="{71918198-C654-4F10-BE97-987BB9407625}"/>
            </ac:spMkLst>
          </pc:spChg>
          <pc:spChg chg="add del mod">
            <ac:chgData name="Baciu Lupascu, Raluca" userId="68b8499e-70c7-46a5-a7f5-08d4a146f234" providerId="ADAL" clId="{D306BB26-EB9F-4E01-A290-0111A7EB9CD4}" dt="2022-03-09T13:35:48.791" v="449"/>
            <ac:spMkLst>
              <pc:docMk/>
              <pc:sldMasterMk cId="162286515" sldId="2147483717"/>
              <pc:sldLayoutMk cId="1941613375" sldId="2147483743"/>
              <ac:spMk id="37" creationId="{F7045CEA-E955-43ED-92FD-77E2076BAF4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03" v="460"/>
            <ac:spMkLst>
              <pc:docMk/>
              <pc:sldMasterMk cId="162286515" sldId="2147483717"/>
              <pc:sldLayoutMk cId="1941613375" sldId="2147483743"/>
              <ac:spMk id="38" creationId="{D20F7C00-0884-4533-8150-E9867D6B685B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15" v="471"/>
            <ac:spMkLst>
              <pc:docMk/>
              <pc:sldMasterMk cId="162286515" sldId="2147483717"/>
              <pc:sldLayoutMk cId="1941613375" sldId="2147483743"/>
              <ac:spMk id="39" creationId="{DE6D6612-FE1C-445D-BA65-C80DCCD6C138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27" v="482"/>
            <ac:spMkLst>
              <pc:docMk/>
              <pc:sldMasterMk cId="162286515" sldId="2147483717"/>
              <pc:sldLayoutMk cId="1941613375" sldId="2147483743"/>
              <ac:spMk id="40" creationId="{EE338F3F-549D-492D-92B7-4AE3E036356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38" v="493"/>
            <ac:spMkLst>
              <pc:docMk/>
              <pc:sldMasterMk cId="162286515" sldId="2147483717"/>
              <pc:sldLayoutMk cId="1941613375" sldId="2147483743"/>
              <ac:spMk id="41" creationId="{DAABE7B3-05D4-4A58-B4EB-B92A2A182B5F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49" v="504"/>
            <ac:spMkLst>
              <pc:docMk/>
              <pc:sldMasterMk cId="162286515" sldId="2147483717"/>
              <pc:sldLayoutMk cId="1941613375" sldId="2147483743"/>
              <ac:spMk id="42" creationId="{A70E3242-6910-4984-ADBA-42967F0E64BF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60" v="516"/>
            <ac:spMkLst>
              <pc:docMk/>
              <pc:sldMasterMk cId="162286515" sldId="2147483717"/>
              <pc:sldLayoutMk cId="1941613375" sldId="2147483743"/>
              <ac:spMk id="43" creationId="{B7AFDC8B-BB2F-44CC-9A89-1C0FED1FE3B7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72" v="528"/>
            <ac:spMkLst>
              <pc:docMk/>
              <pc:sldMasterMk cId="162286515" sldId="2147483717"/>
              <pc:sldLayoutMk cId="1941613375" sldId="2147483743"/>
              <ac:spMk id="44" creationId="{978088D2-E3A7-41FD-9EEE-478D938E8CE6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83" v="540"/>
            <ac:spMkLst>
              <pc:docMk/>
              <pc:sldMasterMk cId="162286515" sldId="2147483717"/>
              <pc:sldLayoutMk cId="1941613375" sldId="2147483743"/>
              <ac:spMk id="45" creationId="{BAE49AF5-DAA0-417F-AE65-86C8532ED185}"/>
            </ac:spMkLst>
          </pc:spChg>
          <pc:spChg chg="add del mod">
            <ac:chgData name="Baciu Lupascu, Raluca" userId="68b8499e-70c7-46a5-a7f5-08d4a146f234" providerId="ADAL" clId="{D306BB26-EB9F-4E01-A290-0111A7EB9CD4}" dt="2022-03-09T13:35:48.894" v="551"/>
            <ac:spMkLst>
              <pc:docMk/>
              <pc:sldMasterMk cId="162286515" sldId="2147483717"/>
              <pc:sldLayoutMk cId="1941613375" sldId="2147483743"/>
              <ac:spMk id="46" creationId="{4A881A7A-59D0-46D5-9B01-F67175CBCEC9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05" v="563"/>
            <ac:spMkLst>
              <pc:docMk/>
              <pc:sldMasterMk cId="162286515" sldId="2147483717"/>
              <pc:sldLayoutMk cId="1941613375" sldId="2147483743"/>
              <ac:spMk id="47" creationId="{88761069-1397-4312-910B-A6ACF88017E8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21" v="575"/>
            <ac:spMkLst>
              <pc:docMk/>
              <pc:sldMasterMk cId="162286515" sldId="2147483717"/>
              <pc:sldLayoutMk cId="1941613375" sldId="2147483743"/>
              <ac:spMk id="48" creationId="{1CDCCD21-0BB5-4934-9F4A-37B1C378EB8A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36" v="587"/>
            <ac:spMkLst>
              <pc:docMk/>
              <pc:sldMasterMk cId="162286515" sldId="2147483717"/>
              <pc:sldLayoutMk cId="1941613375" sldId="2147483743"/>
              <ac:spMk id="49" creationId="{FED219A1-CF1C-4979-9CDD-43111762ABB6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52" v="599"/>
            <ac:spMkLst>
              <pc:docMk/>
              <pc:sldMasterMk cId="162286515" sldId="2147483717"/>
              <pc:sldLayoutMk cId="1941613375" sldId="2147483743"/>
              <ac:spMk id="50" creationId="{31CE4D6A-EAD6-4835-BFC0-58B1E8427284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66" v="611"/>
            <ac:spMkLst>
              <pc:docMk/>
              <pc:sldMasterMk cId="162286515" sldId="2147483717"/>
              <pc:sldLayoutMk cId="1941613375" sldId="2147483743"/>
              <ac:spMk id="51" creationId="{58873A21-9AA0-43D4-BE6C-82F03A53F36F}"/>
            </ac:spMkLst>
          </pc:spChg>
          <pc:spChg chg="add del mod">
            <ac:chgData name="Baciu Lupascu, Raluca" userId="68b8499e-70c7-46a5-a7f5-08d4a146f234" providerId="ADAL" clId="{D306BB26-EB9F-4E01-A290-0111A7EB9CD4}" dt="2022-03-09T13:35:48.980" v="623"/>
            <ac:spMkLst>
              <pc:docMk/>
              <pc:sldMasterMk cId="162286515" sldId="2147483717"/>
              <pc:sldLayoutMk cId="1941613375" sldId="2147483743"/>
              <ac:spMk id="52" creationId="{49D1E5BC-6C9C-4D0D-A5FE-8797BE560CC2}"/>
            </ac:spMkLst>
          </pc:spChg>
          <pc:spChg chg="add del mod">
            <ac:chgData name="Baciu Lupascu, Raluca" userId="68b8499e-70c7-46a5-a7f5-08d4a146f234" providerId="ADAL" clId="{D306BB26-EB9F-4E01-A290-0111A7EB9CD4}" dt="2022-03-09T13:35:49.057" v="657"/>
            <ac:spMkLst>
              <pc:docMk/>
              <pc:sldMasterMk cId="162286515" sldId="2147483717"/>
              <pc:sldLayoutMk cId="1941613375" sldId="2147483743"/>
              <ac:spMk id="53" creationId="{340681F2-1A7D-48AA-B10C-F252A71CB0F1}"/>
            </ac:spMkLst>
          </pc:spChg>
        </pc:sldLayoutChg>
        <pc:sldLayoutChg chg="addSp delSp modSp del mod">
          <pc:chgData name="Baciu Lupascu, Raluca" userId="68b8499e-70c7-46a5-a7f5-08d4a146f234" providerId="ADAL" clId="{D306BB26-EB9F-4E01-A290-0111A7EB9CD4}" dt="2022-03-09T13:35:49.050" v="653" actId="2696"/>
          <pc:sldLayoutMkLst>
            <pc:docMk/>
            <pc:sldMasterMk cId="162286515" sldId="2147483717"/>
            <pc:sldLayoutMk cId="3599680126" sldId="2147483744"/>
          </pc:sldLayoutMkLst>
          <pc:spChg chg="add del mod">
            <ac:chgData name="Baciu Lupascu, Raluca" userId="68b8499e-70c7-46a5-a7f5-08d4a146f234" providerId="ADAL" clId="{D306BB26-EB9F-4E01-A290-0111A7EB9CD4}" dt="2022-03-09T13:35:48.995" v="632"/>
            <ac:spMkLst>
              <pc:docMk/>
              <pc:sldMasterMk cId="162286515" sldId="2147483717"/>
              <pc:sldLayoutMk cId="3599680126" sldId="2147483744"/>
              <ac:spMk id="7" creationId="{44EB5299-F30B-4999-A1E2-BC7D97ABEB9D}"/>
            </ac:spMkLst>
          </pc:spChg>
          <pc:spChg chg="add del mod">
            <ac:chgData name="Baciu Lupascu, Raluca" userId="68b8499e-70c7-46a5-a7f5-08d4a146f234" providerId="ADAL" clId="{D306BB26-EB9F-4E01-A290-0111A7EB9CD4}" dt="2022-03-09T13:35:49.046" v="652"/>
            <ac:spMkLst>
              <pc:docMk/>
              <pc:sldMasterMk cId="162286515" sldId="2147483717"/>
              <pc:sldLayoutMk cId="3599680126" sldId="2147483744"/>
              <ac:spMk id="8" creationId="{3215BB52-4F3A-4B47-ABFF-4EAC38C4C59F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775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CA583E-E11A-4997-8CFD-11F0B6F447ED}" type="datetimeFigureOut">
              <a:rPr lang="en-US" smtClean="0"/>
              <a:t>4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602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775" y="9120602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89183-C461-42A6-9FC3-526320767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4586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2775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4/26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87433" y="4560302"/>
            <a:ext cx="5340335" cy="4320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068"/>
            <a:ext cx="3170717" cy="4805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2775" y="9119068"/>
            <a:ext cx="3170717" cy="4805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33570" y="4562490"/>
            <a:ext cx="5871978" cy="4322842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7FF644-A682-4346-A706-6E8FDE3D696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9047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083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0585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646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955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734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3470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6995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70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0139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438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997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4822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9048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107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33006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3570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2189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6326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63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1245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692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4098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3776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3606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7224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19080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9896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1859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6592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304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5604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5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8703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35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545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5702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2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4409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74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4067" y="141683"/>
            <a:ext cx="8855870" cy="2781302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569" y="3111810"/>
            <a:ext cx="8424863" cy="4050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59569" y="3457410"/>
            <a:ext cx="8424863" cy="89859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59569" y="4526127"/>
            <a:ext cx="2700000" cy="28687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1" y="4523875"/>
            <a:ext cx="4050000" cy="28687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0158A786-2448-4317-8472-A8E09F81617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405269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1" y="1140620"/>
            <a:ext cx="8532019" cy="153947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EFF3A59-1D7C-4AB6-B21B-756C14D3CAE2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547185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1" y="2814777"/>
            <a:ext cx="8532019" cy="1755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39C71D-7EAB-4DEE-BF09-788430ECDAE0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9800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364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orient="horz" pos="95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5992" y="1140620"/>
            <a:ext cx="4212431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2963" y="1140620"/>
            <a:ext cx="4185048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7BC34A-7C07-42D9-808E-26A7A341C584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7619052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pos="3795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orient="horz" pos="95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03693" y="1140618"/>
            <a:ext cx="2759306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194447" y="1142404"/>
            <a:ext cx="27540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84202" y="1140618"/>
            <a:ext cx="2753999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7405234-3795-4665-96CE-73E24D5FBB7B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52471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684">
          <p15:clr>
            <a:srgbClr val="FBAE40"/>
          </p15:clr>
        </p15:guide>
        <p15:guide id="2" pos="7423">
          <p15:clr>
            <a:srgbClr val="FBAE40"/>
          </p15:clr>
        </p15:guide>
        <p15:guide id="3" pos="5110">
          <p15:clr>
            <a:srgbClr val="FBAE40"/>
          </p15:clr>
        </p15:guide>
        <p15:guide id="4" pos="4997">
          <p15:clr>
            <a:srgbClr val="FBAE40"/>
          </p15:clr>
        </p15:guide>
        <p15:guide id="5" pos="2570">
          <p15:clr>
            <a:srgbClr val="FBAE40"/>
          </p15:clr>
        </p15:guide>
        <p15:guide id="6" pos="257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orient="horz" pos="9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5992" y="1140619"/>
            <a:ext cx="4212431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2963" y="1140619"/>
            <a:ext cx="4185047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05992" y="2924100"/>
            <a:ext cx="4212431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2963" y="2924100"/>
            <a:ext cx="4185047" cy="1647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9E4E232-6727-4F41-B535-B6A07FCFE8FC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1229644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57">
          <p15:clr>
            <a:srgbClr val="FBAE40"/>
          </p15:clr>
        </p15:guide>
        <p15:guide id="3" pos="7423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957">
          <p15:clr>
            <a:srgbClr val="FBAE40"/>
          </p15:clr>
        </p15:guide>
        <p15:guide id="7" orient="horz" pos="2455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B0ABE-A7AC-49D2-B5D7-B30FBDDA4350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508506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3F44-8689-4DA3-94D4-723958EBDEA0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537629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A970C-7A3A-4F58-A220-69417A5B24DB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4802565"/>
      </p:ext>
    </p:extLst>
  </p:cSld>
  <p:clrMapOvr>
    <a:masterClrMapping/>
  </p:clrMapOvr>
  <p:transition>
    <p:fade/>
  </p:transition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8DD05899-0893-404F-83A8-2CF2C3859FF3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326723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067" y="141683"/>
            <a:ext cx="8855870" cy="486013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94ED681C-AE76-4C40-B58E-747739790D6B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6788021"/>
      </p:ext>
    </p:extLst>
  </p:cSld>
  <p:clrMapOvr>
    <a:masterClrMapping/>
  </p:clrMapOvr>
  <p:transition>
    <p:fade/>
  </p:transition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4067" y="141683"/>
            <a:ext cx="8855870" cy="4860134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273" y="3110400"/>
            <a:ext cx="8425159" cy="40641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60773" y="3457410"/>
            <a:ext cx="8423121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60773" y="4523875"/>
            <a:ext cx="2698342" cy="289124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2" y="4523875"/>
            <a:ext cx="4050000" cy="28912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BFA72364-A516-44BA-AE7C-E43722571B2E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553901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44066" y="141685"/>
            <a:ext cx="8855869" cy="48601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8ED20A-0020-4096-B0AD-F77BFCA46D62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552480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DF55F8B8-6096-45CB-9CF0-0DE10811B885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974516"/>
      </p:ext>
    </p:extLst>
  </p:cSld>
  <p:clrMapOvr>
    <a:masterClrMapping/>
  </p:clrMapOvr>
  <p:transition>
    <p:fade/>
  </p:transition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6011" y="2257200"/>
            <a:ext cx="8531980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bg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6011" y="1580400"/>
            <a:ext cx="8531980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2ECA5-BAC2-45C5-BAD7-D925982DCEA9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4717769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5992" y="2257200"/>
            <a:ext cx="8531999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tx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5992" y="1580400"/>
            <a:ext cx="8531999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3CE43-ED55-4F0C-BF95-3E3E98407E03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9736315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3499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6011" y="2257200"/>
            <a:ext cx="8531999" cy="19062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100">
                <a:solidFill>
                  <a:schemeClr val="bg1"/>
                </a:solidFill>
              </a:defRPr>
            </a:lvl1pPr>
            <a:lvl2pPr marL="184145" indent="-18414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37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28" indent="-179384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269" indent="-177796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06011" y="1580400"/>
            <a:ext cx="8531999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F6B173-9748-4C0D-A8B0-3470061330AE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Continental A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229742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E66CAA7-1EDE-42BE-8496-E47CEC56B429}" type="datetime3">
              <a:rPr lang="en-US" noProof="0" smtClean="0"/>
              <a:t>26 April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546498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359273" y="2427585"/>
            <a:ext cx="8424000" cy="405001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359273" y="2773186"/>
            <a:ext cx="8424000" cy="90084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1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359273" y="4523875"/>
            <a:ext cx="2700000" cy="289124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4734432" y="4523875"/>
            <a:ext cx="4049462" cy="289124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772" y="0"/>
            <a:ext cx="1847956" cy="935928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C3AD146B-648B-4934-B364-350B6CF1F283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5783818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00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4278054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2387CE8-C3B9-4B98-BEAD-0D1DD4C5D7FB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8471653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/>
        </p:nvSpPr>
        <p:spPr>
          <a:xfrm>
            <a:off x="8057723" y="357505"/>
            <a:ext cx="787889" cy="323210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User Experience (UX)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17694" y="4816800"/>
            <a:ext cx="1620000" cy="112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895865" rtl="0"/>
            <a:r>
              <a:rPr lang="de-DE" sz="6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6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4658" y="4816819"/>
            <a:ext cx="1080000" cy="11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895865" rtl="0"/>
            <a:r>
              <a:rPr lang="de-DE" sz="6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BDA88D-4D16-4A28-95A9-8B3CB0F1AB59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4409892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5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949B40-819D-4308-84CC-77A03CB4BE30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7714027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067" y="141683"/>
            <a:ext cx="8855870" cy="486013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199444F-EDD1-47B4-A56B-55624D9F6A48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668079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5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/>
        </p:nvGrpSpPr>
        <p:grpSpPr>
          <a:xfrm>
            <a:off x="0" y="0"/>
            <a:ext cx="9144900" cy="51435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3273910"/>
            <a:ext cx="8531998" cy="70199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8C08B599-8AAA-4BB2-8C11-9556B41882B3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51435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3359351"/>
      </p:ext>
    </p:extLst>
  </p:cSld>
  <p:clrMapOvr>
    <a:masterClrMapping/>
  </p:clrMapOvr>
  <p:transition>
    <p:fade/>
  </p:transition>
  <p:hf hdr="0"/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5991" y="284623"/>
            <a:ext cx="8531998" cy="70199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05991" y="1140593"/>
            <a:ext cx="8531998" cy="3429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7273800" y="4816800"/>
            <a:ext cx="729000" cy="11283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BE2A0A57-2B32-4FA7-8221-01C3F40CA6DC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460433" y="4816800"/>
            <a:ext cx="377558" cy="11283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6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empower - DO NOT DELETE!!!"/>
          <p:cNvSpPr/>
          <p:nvPr>
            <p:custDataLst>
              <p:tags r:id="rId2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7000" y="4816800"/>
            <a:ext cx="1890000" cy="11283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© Continental AG</a:t>
            </a:r>
            <a:endParaRPr lang="en-US" noProof="0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/>
        </p:nvCxnSpPr>
        <p:spPr>
          <a:xfrm>
            <a:off x="305990" y="4727700"/>
            <a:ext cx="8532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43442" y="4752000"/>
            <a:ext cx="791165" cy="243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286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transition>
    <p:fade/>
  </p:transition>
  <p:hf hdr="0"/>
  <p:txStyles>
    <p:titleStyle>
      <a:lvl1pPr algn="l" defTabSz="914378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5731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70000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0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000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73894" indent="-135731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itchFamily="34" charset="0"/>
        <a:buChar char="›"/>
        <a:defRPr sz="135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675000" indent="-135000" algn="l" defTabSz="914378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jenkins.io/doc/book/installing/offline/" TargetMode="External"/><Relationship Id="rId5" Type="http://schemas.openxmlformats.org/officeDocument/2006/relationships/hyperlink" Target="https://www.phpflow.com/misc/devops/how-to-manually-install-jenkins-plugin/" TargetMode="Externa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pluginManager/available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safeRestart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configure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3000/admin/hooks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localhost:3000/" TargetMode="External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://localhost:3000/org/ISSA/dashboard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3000/ISSA/project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localhost:3000/ISSA/project/src/branch/master/README.md" TargetMode="External"/><Relationship Id="rId4" Type="http://schemas.openxmlformats.org/officeDocument/2006/relationships/hyperlink" Target="http://localhost:3000/ISSA/project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080/job/cd-issa-gitea/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hymex/issa-cd-fii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hymex/issa-cd-fii/blob/master/Jenkinsfile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github.com/jenkinsci/embeddable-build-status-plugin" TargetMode="External"/><Relationship Id="rId4" Type="http://schemas.openxmlformats.org/officeDocument/2006/relationships/hyperlink" Target="https://github.com/BurntSushi/ripgrep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pachefriends.org/" TargetMode="External"/><Relationship Id="rId13" Type="http://schemas.openxmlformats.org/officeDocument/2006/relationships/hyperlink" Target="https://pkg.jenkins.io/debian-stable" TargetMode="External"/><Relationship Id="rId3" Type="http://schemas.openxmlformats.org/officeDocument/2006/relationships/hyperlink" Target="https://www.python.org/downloads/" TargetMode="External"/><Relationship Id="rId7" Type="http://schemas.openxmlformats.org/officeDocument/2006/relationships/hyperlink" Target="https://github.com/go-gitea/gitea/releases/download/v1.9.4/gitea-1.9.4-linux-386" TargetMode="External"/><Relationship Id="rId12" Type="http://schemas.openxmlformats.org/officeDocument/2006/relationships/hyperlink" Target="https://jenkins.io/download/thank-you-downloading-windows-installer-stabl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github.com/go-gitea/gitea/releases/download/v1.9.4/gitea-1.9.4-windows-4.0-386.exe" TargetMode="External"/><Relationship Id="rId11" Type="http://schemas.openxmlformats.org/officeDocument/2006/relationships/hyperlink" Target="https://jenkins.io/" TargetMode="External"/><Relationship Id="rId5" Type="http://schemas.openxmlformats.org/officeDocument/2006/relationships/hyperlink" Target="https://github.com/go-gitea/gitea/" TargetMode="External"/><Relationship Id="rId10" Type="http://schemas.openxmlformats.org/officeDocument/2006/relationships/hyperlink" Target="https://www.apachefriends.org/xampp-files/7.3.10/xampp-linux-x64-7.3.10-0-installer.run" TargetMode="External"/><Relationship Id="rId4" Type="http://schemas.openxmlformats.org/officeDocument/2006/relationships/hyperlink" Target="https://git-scm.com/downloads" TargetMode="External"/><Relationship Id="rId9" Type="http://schemas.openxmlformats.org/officeDocument/2006/relationships/hyperlink" Target="https://www.apachefriends.org/xampp-files/7.3.10/xampp-windows-x64-7.3.10-0-VC15-installer.exe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localhost/phpmyadmin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U:\Continental-Pictures\Continental-Car\Global-Motiv-2013\Global-Motiv_kl.jpg"/>
          <p:cNvPicPr>
            <a:picLocks noChangeAspect="1" noChangeArrowheads="1"/>
          </p:cNvPicPr>
          <p:nvPr/>
        </p:nvPicPr>
        <p:blipFill>
          <a:blip r:embed="rId4"/>
          <a:srcRect t="32786" b="6089"/>
          <a:stretch>
            <a:fillRect/>
          </a:stretch>
        </p:blipFill>
        <p:spPr bwMode="auto">
          <a:xfrm>
            <a:off x="179512" y="159000"/>
            <a:ext cx="8784976" cy="3473023"/>
          </a:xfrm>
          <a:prstGeom prst="rect">
            <a:avLst/>
          </a:prstGeom>
          <a:noFill/>
        </p:spPr>
      </p:pic>
      <p:pic>
        <p:nvPicPr>
          <p:cNvPr id="31" name="User Experience (UX) Key Visual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3425ACD0-6B75-4A1B-A5A0-07E2B22D6EBE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>
          <a:blip r:embed="rId5"/>
          <a:srcRect t="6336" b="6336"/>
          <a:stretch>
            <a:fillRect/>
          </a:stretch>
        </p:blipFill>
        <p:spPr>
          <a:xfrm>
            <a:off x="144463" y="141288"/>
            <a:ext cx="8853634" cy="4860134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19846CB-13FB-4A89-A9FA-2724147AF2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3893532"/>
            <a:ext cx="8196263" cy="406410"/>
          </a:xfrm>
        </p:spPr>
        <p:txBody>
          <a:bodyPr/>
          <a:lstStyle/>
          <a:p>
            <a:r>
              <a:rPr lang="en-US" dirty="0">
                <a:solidFill>
                  <a:srgbClr val="FFA500"/>
                </a:solidFill>
                <a:latin typeface="Arial" panose="020B0604020202020204" pitchFamily="34" charset="0"/>
              </a:rPr>
              <a:t>Continuous Integration / Continuous Testing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9425" y="4299942"/>
            <a:ext cx="8304469" cy="432047"/>
          </a:xfrm>
        </p:spPr>
        <p:txBody>
          <a:bodyPr>
            <a:noAutofit/>
          </a:bodyPr>
          <a:lstStyle/>
          <a:p>
            <a:r>
              <a:rPr lang="en-US" sz="2000" b="1" dirty="0"/>
              <a:t>Seminary Part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3F6D37B-5E52-480C-85B1-761101B33F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Date Placeholder 23">
            <a:extLst>
              <a:ext uri="{FF2B5EF4-FFF2-40B4-BE49-F238E27FC236}">
                <a16:creationId xmlns:a16="http://schemas.microsoft.com/office/drawing/2014/main" id="{790B725D-429E-44E8-B04E-AED8CDC1FB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158A786-2448-4317-8472-A8E09F81617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BCC333D8-3B08-4A75-9D19-851D3986E0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9DD2EACD-EC74-4BDB-BC85-EC3886D0C1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</a:t>
            </a:fld>
            <a:endParaRPr lang="en-US" noProof="0" dirty="0"/>
          </a:p>
        </p:txBody>
      </p:sp>
      <p:sp>
        <p:nvSpPr>
          <p:cNvPr id="9" name="Rechteck 8"/>
          <p:cNvSpPr/>
          <p:nvPr/>
        </p:nvSpPr>
        <p:spPr>
          <a:xfrm>
            <a:off x="1143001" y="1"/>
            <a:ext cx="1190" cy="119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143001" y="1"/>
            <a:ext cx="1190" cy="119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143001" y="1"/>
            <a:ext cx="1190" cy="119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36" name="Grafik 12">
            <a:extLst>
              <a:ext uri="{FF2B5EF4-FFF2-40B4-BE49-F238E27FC236}">
                <a16:creationId xmlns:a16="http://schemas.microsoft.com/office/drawing/2014/main" id="{E91EDD86-EB95-4EE7-A767-5AA0C3C67BC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7530766" y="4115451"/>
            <a:ext cx="1216348" cy="699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270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AAF7B6-1B36-449A-9574-0DC08235D874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67543" y="749432"/>
            <a:ext cx="8370445" cy="3654027"/>
          </a:xfrm>
        </p:spPr>
        <p:txBody>
          <a:bodyPr>
            <a:noAutofit/>
          </a:bodyPr>
          <a:lstStyle>
            <a:lvl1pPr marL="135731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27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405000" indent="-135000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54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673894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r>
              <a:rPr lang="en-US" sz="1600" dirty="0"/>
              <a:t>A new database has to be created in order to be populated with tables by the </a:t>
            </a:r>
            <a:r>
              <a:rPr lang="en-US" sz="1600" dirty="0" err="1"/>
              <a:t>Gitea</a:t>
            </a:r>
            <a:r>
              <a:rPr lang="en-US" sz="1600" dirty="0"/>
              <a:t> server.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r>
              <a:rPr lang="en-US" sz="1600" dirty="0"/>
              <a:t>A separate user has to be created to be used by the </a:t>
            </a:r>
            <a:r>
              <a:rPr lang="en-US" sz="1600" dirty="0" err="1"/>
              <a:t>Gitea</a:t>
            </a:r>
            <a:r>
              <a:rPr lang="en-US" sz="1600" dirty="0"/>
              <a:t> serv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9ECF95-BC01-476F-9729-DD8BF5E7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3" y="284623"/>
            <a:ext cx="8370446" cy="701996"/>
          </a:xfrm>
        </p:spPr>
        <p:txBody>
          <a:bodyPr/>
          <a:lstStyle/>
          <a:p>
            <a:r>
              <a:rPr lang="en-US" dirty="0"/>
              <a:t>MySQL set-up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AF681147-4A69-4E4C-8CDF-A0A71005FF6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E3D795-91D6-4E4A-BA9A-6E2C0DA390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1A0BB32-DE0D-4656-90A7-46ED014639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dirty="0" smtClean="0"/>
              <a:pPr/>
              <a:t>10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34946A-7C0C-47A9-B54E-94ACDC146E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00" y="1259328"/>
            <a:ext cx="1659830" cy="124182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4F90916-D143-4E4B-AC42-65D80030B5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0173" y="1491534"/>
            <a:ext cx="4503379" cy="650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85CE50-A663-4EE4-8817-C40C95D714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6020" y="2859782"/>
            <a:ext cx="4211960" cy="1539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35974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3CAC075-CF2B-4081-8047-55B4AF0D85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862" y="699542"/>
            <a:ext cx="7765570" cy="3960440"/>
          </a:xfrm>
          <a:prstGeom prst="rect">
            <a:avLst/>
          </a:prstGeom>
          <a:noFill/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600319-DADD-4179-986B-4B79AF34F84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 anchor="t">
            <a:normAutofit/>
          </a:bodyPr>
          <a:lstStyle>
            <a:lvl1pPr marL="135731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27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405000" indent="-135000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54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673894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r>
              <a:rPr lang="en-US" dirty="0">
                <a:solidFill>
                  <a:schemeClr val="dk1"/>
                </a:solidFill>
              </a:rPr>
              <a:t> </a:t>
            </a:r>
            <a:r>
              <a:rPr lang="en-US" b="0" dirty="0">
                <a:solidFill>
                  <a:schemeClr val="dk1"/>
                </a:solidFill>
              </a:rPr>
              <a:t>username: </a:t>
            </a:r>
            <a:r>
              <a:rPr lang="en-US" b="0" dirty="0" err="1">
                <a:solidFill>
                  <a:schemeClr val="dk1"/>
                </a:solidFill>
              </a:rPr>
              <a:t>gitea</a:t>
            </a:r>
            <a:r>
              <a:rPr lang="en-US" b="0" dirty="0">
                <a:solidFill>
                  <a:schemeClr val="dk1"/>
                </a:solidFill>
              </a:rPr>
              <a:t> | </a:t>
            </a:r>
            <a:r>
              <a:rPr lang="en-US" b="0" dirty="0">
                <a:solidFill>
                  <a:srgbClr val="FF2D37"/>
                </a:solidFill>
              </a:rPr>
              <a:t>password: </a:t>
            </a:r>
            <a:r>
              <a:rPr lang="en-US" b="0" dirty="0" err="1">
                <a:solidFill>
                  <a:srgbClr val="FF2D37"/>
                </a:solidFill>
              </a:rPr>
              <a:t>gitea</a:t>
            </a:r>
            <a:endParaRPr lang="en-US" b="0" dirty="0">
              <a:solidFill>
                <a:srgbClr val="FF2D37"/>
              </a:solidFill>
            </a:endParaRP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BE561B9-4DCE-4765-9C4D-D98D23573C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1FC2C36-C3D0-459B-82AC-5F742B1D2F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933F85F-5293-4F5E-985F-0875601CF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1</a:t>
            </a:fld>
            <a:endParaRPr lang="en-US" noProof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7222876-0D91-4559-8A46-44E21E4B3D83}"/>
              </a:ext>
            </a:extLst>
          </p:cNvPr>
          <p:cNvCxnSpPr>
            <a:cxnSpLocks/>
          </p:cNvCxnSpPr>
          <p:nvPr/>
        </p:nvCxnSpPr>
        <p:spPr>
          <a:xfrm flipH="1">
            <a:off x="1835696" y="2499742"/>
            <a:ext cx="144016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85497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E0F56A-CABB-46CC-B741-B7A3F97166F7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07987" y="941233"/>
            <a:ext cx="8430001" cy="3429000"/>
          </a:xfrm>
        </p:spPr>
        <p:txBody>
          <a:bodyPr vert="horz" lIns="0" tIns="18000" rIns="0" bIns="18000" rtlCol="0" anchor="t">
            <a:noAutofit/>
          </a:bodyPr>
          <a:lstStyle>
            <a:lvl1pPr marL="135731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27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405000" indent="-135000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54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673894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pPr marL="135255" indent="-135255"/>
            <a:r>
              <a:rPr lang="en-US" sz="1600" dirty="0">
                <a:cs typeface="Arial"/>
              </a:rPr>
              <a:t>Copy the </a:t>
            </a:r>
            <a:r>
              <a:rPr lang="en-US" sz="1600" dirty="0" err="1">
                <a:cs typeface="Arial"/>
              </a:rPr>
              <a:t>Gitea</a:t>
            </a:r>
            <a:r>
              <a:rPr lang="en-US" sz="1600" dirty="0">
                <a:cs typeface="Arial"/>
              </a:rPr>
              <a:t> binary (.exe) into cd-seminary/infra/</a:t>
            </a:r>
            <a:r>
              <a:rPr lang="en-US" sz="1600" dirty="0" err="1">
                <a:cs typeface="Arial"/>
              </a:rPr>
              <a:t>gitea</a:t>
            </a:r>
            <a:r>
              <a:rPr lang="en-US" sz="1600" dirty="0">
                <a:cs typeface="Arial"/>
              </a:rPr>
              <a:t> and run it.</a:t>
            </a:r>
          </a:p>
          <a:p>
            <a:pPr marL="135255" indent="-135255"/>
            <a:r>
              <a:rPr lang="en-US" sz="1600" dirty="0">
                <a:cs typeface="Arial"/>
              </a:rPr>
              <a:t>After the initialization, </a:t>
            </a:r>
            <a:r>
              <a:rPr lang="en-US" sz="1600" dirty="0" err="1">
                <a:cs typeface="Arial"/>
              </a:rPr>
              <a:t>Gitea</a:t>
            </a:r>
            <a:r>
              <a:rPr lang="en-US" sz="1600" dirty="0">
                <a:cs typeface="Arial"/>
              </a:rPr>
              <a:t> should be up on localhost:3000, open the page in a browser.</a:t>
            </a:r>
          </a:p>
          <a:p>
            <a:pPr marL="135255" indent="-135255"/>
            <a:r>
              <a:rPr lang="en-US" sz="1600" dirty="0">
                <a:cs typeface="Arial"/>
              </a:rPr>
              <a:t>Click on either one of the Register or Sign In buttons for the Initial Configuration</a:t>
            </a:r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r>
              <a:rPr lang="en-US" sz="1600" dirty="0"/>
              <a:t>Proceed by filling the fields as shown in the next pages</a:t>
            </a:r>
          </a:p>
          <a:p>
            <a:pPr marL="135255" indent="-135255">
              <a:buNone/>
            </a:pP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A738B6-DCCB-45C4-85CF-AADBC0D24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 err="1"/>
              <a:t>Gitea</a:t>
            </a:r>
            <a:r>
              <a:rPr lang="en-US" dirty="0"/>
              <a:t> Bring-up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CA2CCC7-8A3F-4821-92DC-EDA78A5FDA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DA28D25-3D75-4326-ADB2-42D6C0CFB0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A24C1592-1F24-459B-8EB1-9F40D0E7B3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338A07-D673-4059-A708-93EE2D354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482" y="2099079"/>
            <a:ext cx="8625036" cy="44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98557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A9512DA5-0836-4825-BA95-DC412E79AD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A67FA81E-A7A1-49D7-97ED-4E05B1F48B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1573027B-E34B-4D51-9116-579E9D729E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F127E5-6EE7-429E-B3E4-CA887F733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6533" y="324176"/>
            <a:ext cx="4224508" cy="38678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80D5E5-C86B-405E-9214-4FD271CB94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171" y="1275606"/>
            <a:ext cx="3312368" cy="17714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A7D06E5-BC72-4AFE-80A6-D0939033C46C}"/>
              </a:ext>
            </a:extLst>
          </p:cNvPr>
          <p:cNvSpPr txBox="1"/>
          <p:nvPr/>
        </p:nvSpPr>
        <p:spPr>
          <a:xfrm>
            <a:off x="1804245" y="812200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rt 1 /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1F3525-8F3E-4426-8559-C11654B2F158}"/>
              </a:ext>
            </a:extLst>
          </p:cNvPr>
          <p:cNvSpPr txBox="1"/>
          <p:nvPr/>
        </p:nvSpPr>
        <p:spPr>
          <a:xfrm>
            <a:off x="5978677" y="0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rt 2 / 3</a:t>
            </a:r>
          </a:p>
        </p:txBody>
      </p:sp>
    </p:spTree>
    <p:extLst>
      <p:ext uri="{BB962C8B-B14F-4D97-AF65-F5344CB8AC3E}">
        <p14:creationId xmlns:p14="http://schemas.microsoft.com/office/powerpoint/2010/main" val="41276251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6C736AB-7613-40CD-A607-32E8D166C5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D3B5BAF-8C81-414A-980D-EFAAF5B4AE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4E14890-8905-421C-B843-EFD6BF8605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139C46-5964-4E1C-9187-26C6563078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379" y="365431"/>
            <a:ext cx="7189241" cy="36907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76198DC-A79D-42C9-9422-7742997037F8}"/>
              </a:ext>
            </a:extLst>
          </p:cNvPr>
          <p:cNvSpPr txBox="1"/>
          <p:nvPr/>
        </p:nvSpPr>
        <p:spPr>
          <a:xfrm>
            <a:off x="4011589" y="58490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rt 3 / 3</a:t>
            </a:r>
          </a:p>
        </p:txBody>
      </p:sp>
    </p:spTree>
    <p:extLst>
      <p:ext uri="{BB962C8B-B14F-4D97-AF65-F5344CB8AC3E}">
        <p14:creationId xmlns:p14="http://schemas.microsoft.com/office/powerpoint/2010/main" val="364463476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8130B3C1-195A-43F9-9307-7B43B7F88A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03C4493-EC8E-46F9-989C-8E52AF9AF8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F1C7466-2591-44CD-85C1-A843D84427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DB9DA4-2038-421D-8CBA-0678E2588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357" y="1275607"/>
            <a:ext cx="8560115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4876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F5861E-D3CA-4DE4-8891-535D46D3E8BD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07987" y="842963"/>
            <a:ext cx="8430001" cy="3726630"/>
          </a:xfrm>
        </p:spPr>
        <p:txBody>
          <a:bodyPr vert="horz" lIns="0" tIns="18000" rIns="0" bIns="18000" rtlCol="0" anchor="t">
            <a:noAutofit/>
          </a:bodyPr>
          <a:lstStyle>
            <a:lvl1pPr marL="135731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27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405000" indent="-135000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54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673894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pPr marL="135255" indent="-135255"/>
            <a:r>
              <a:rPr lang="en-US" sz="1600" dirty="0">
                <a:cs typeface="Arial"/>
              </a:rPr>
              <a:t>Run the Jenkins binary and proceed to install it as shown in the next images.</a:t>
            </a:r>
          </a:p>
          <a:p>
            <a:pPr marL="135255" indent="-135255"/>
            <a:r>
              <a:rPr lang="en-US" sz="1600" b="1" dirty="0"/>
              <a:t>During Jenkins installation, you can test the port. If it is already used, please deactivate that application from </a:t>
            </a:r>
            <a:r>
              <a:rPr lang="en-US" sz="1600" b="1" dirty="0" err="1"/>
              <a:t>services.msc</a:t>
            </a:r>
            <a:endParaRPr lang="en-US" sz="1600" b="1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r>
              <a:rPr lang="en-US" sz="1600" dirty="0"/>
              <a:t>After the installation ends. Jenkins will be available at </a:t>
            </a:r>
            <a:r>
              <a:rPr lang="en-US" sz="1600" b="1" dirty="0"/>
              <a:t>localhost:8080</a:t>
            </a:r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600" dirty="0"/>
          </a:p>
          <a:p>
            <a:pPr marL="135255" indent="-135255"/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09C4ED-B77C-4002-A3A1-B4607FEAD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542863"/>
          </a:xfrm>
        </p:spPr>
        <p:txBody>
          <a:bodyPr/>
          <a:lstStyle/>
          <a:p>
            <a:r>
              <a:rPr lang="en-US" dirty="0"/>
              <a:t>Jenkins Bring-up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CC10155C-40EB-4396-BB78-6E3281C24FD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7169F6B-A244-43AE-B6EC-CC1805C9F8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3045864-0E2D-4514-A134-C8B9DE6A61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2D617A-6662-4F54-B690-A3D14247BA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98" y="1884998"/>
            <a:ext cx="2490260" cy="195412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883AC0A-CE61-4273-8F7D-4C92124E90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8869" y="1863394"/>
            <a:ext cx="2512449" cy="19541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79978C-6F50-4644-972F-DB6807A443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4128" y="1841791"/>
            <a:ext cx="2541595" cy="199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10690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D8955E8C-91B1-4357-B54E-909ECB54A73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2E285B6-A58B-48D3-A386-B3DA5AF5E4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BFD2BE3C-55FE-460A-9A5F-19CAF77815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9ADDB4C-D286-4CD4-B156-76C4250944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470" y="483518"/>
            <a:ext cx="3829846" cy="34358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123382-DE81-4D09-8A8C-02DC441B6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0786" y="996816"/>
            <a:ext cx="4232744" cy="240925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5167861-AACB-4FD0-87E8-89AD5FC4634E}"/>
              </a:ext>
            </a:extLst>
          </p:cNvPr>
          <p:cNvSpPr txBox="1"/>
          <p:nvPr/>
        </p:nvSpPr>
        <p:spPr>
          <a:xfrm>
            <a:off x="518584" y="3985101"/>
            <a:ext cx="7869840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Arial" panose="020B0604020202020204" pitchFamily="34" charset="0"/>
              </a:rPr>
              <a:t>If you encounter an error installing plugins, see links below:</a:t>
            </a:r>
            <a:endParaRPr lang="en-US" sz="1200" b="0" i="0" baseline="0" dirty="0">
              <a:latin typeface="Arial" panose="020B0604020202020204" pitchFamily="34" charset="0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171450" indent="-1714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</a:pPr>
            <a:r>
              <a:rPr lang="en-US" sz="1200" b="0" i="0" u="none" baseline="0" dirty="0">
                <a:solidFill>
                  <a:srgbClr val="FFA500"/>
                </a:solidFill>
                <a:latin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hpflow.com/misc/devops/how-to-manually-install-jenkins-plugin/</a:t>
            </a:r>
            <a:endParaRPr lang="en-US" sz="1200" b="0" i="0" u="none" baseline="0" dirty="0">
              <a:solidFill>
                <a:srgbClr val="FFA500"/>
              </a:solidFill>
              <a:latin typeface="Arial" panose="020B0604020202020204" pitchFamily="34" charset="0"/>
            </a:endParaRPr>
          </a:p>
          <a:p>
            <a:pPr marL="171450" indent="-1714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sz="1200" b="0" i="0" u="none" baseline="0" dirty="0">
                <a:solidFill>
                  <a:srgbClr val="000000"/>
                </a:solidFill>
                <a:latin typeface="Arial" panose="020B0604020202020204" pitchFamily="34" charset="0"/>
                <a:hlinkClick r:id="rId6"/>
              </a:rPr>
              <a:t>https://www.jenkins.io/doc/book/installing/offline/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5406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B53F10F-F10B-48E6-BF5E-B84032A93A8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467544" y="633241"/>
            <a:ext cx="3892266" cy="3429000"/>
          </a:xfrm>
        </p:spPr>
      </p:pic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A329CA2-4148-4695-949A-287746F3CE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99444F-EDD1-47B4-A56B-55624D9F6A48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1418F5-41A8-438B-9C01-404041B59C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FBA07C3-DAAE-4535-890F-4B14BD5A34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F8A940-3A00-4EA9-A96D-1F3989A321A9}"/>
              </a:ext>
            </a:extLst>
          </p:cNvPr>
          <p:cNvSpPr txBox="1"/>
          <p:nvPr/>
        </p:nvSpPr>
        <p:spPr>
          <a:xfrm>
            <a:off x="4717107" y="595082"/>
            <a:ext cx="39941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dirty="0"/>
              <a:t>Keep the defaults on the next step</a:t>
            </a:r>
          </a:p>
          <a:p>
            <a:pPr marL="285750" indent="-285750" algn="just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dirty="0"/>
              <a:t>Save &amp; Finish</a:t>
            </a:r>
          </a:p>
          <a:p>
            <a:pPr marL="285750" indent="-285750" algn="just">
              <a:buClr>
                <a:schemeClr val="accent1"/>
              </a:buClr>
              <a:buFont typeface="Arial" panose="020B0604020202020204" pitchFamily="34" charset="0"/>
              <a:buChar char="›"/>
            </a:pPr>
            <a:r>
              <a:rPr lang="en-US" dirty="0"/>
              <a:t>Jenkins should be up and you should be logged in with the ‘</a:t>
            </a:r>
            <a:r>
              <a:rPr lang="en-US" dirty="0" err="1"/>
              <a:t>jenkins</a:t>
            </a:r>
            <a:r>
              <a:rPr lang="en-US" dirty="0"/>
              <a:t>’ account</a:t>
            </a:r>
          </a:p>
        </p:txBody>
      </p:sp>
    </p:spTree>
    <p:extLst>
      <p:ext uri="{BB962C8B-B14F-4D97-AF65-F5344CB8AC3E}">
        <p14:creationId xmlns:p14="http://schemas.microsoft.com/office/powerpoint/2010/main" val="26142848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9268ACDF-BF1D-4A5E-9EC9-0A80C9998B8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55F89F-453A-4769-8496-6B612DF5D3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99796A8-D0A8-4F0B-8B94-DEF47B98F8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EE05CA35-6A52-4FDC-8382-1E6E267900F5}"/>
              </a:ext>
            </a:extLst>
          </p:cNvPr>
          <p:cNvSpPr txBox="1">
            <a:spLocks/>
          </p:cNvSpPr>
          <p:nvPr/>
        </p:nvSpPr>
        <p:spPr>
          <a:xfrm>
            <a:off x="395289" y="1347788"/>
            <a:ext cx="8353425" cy="280828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rpose</a:t>
            </a:r>
            <a:r>
              <a:rPr lang="en-US" sz="1600" dirty="0"/>
              <a:t>: Set-up the needed configurations that link the tools in between.</a:t>
            </a:r>
          </a:p>
          <a:p>
            <a:r>
              <a:rPr lang="en-US" sz="1600" b="1" dirty="0"/>
              <a:t>Points</a:t>
            </a:r>
            <a:r>
              <a:rPr lang="en-US" sz="1600" dirty="0"/>
              <a:t>: 1 / 5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646471C4-AE07-40B3-93C7-E16F37394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/>
          <a:p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Part: Infrastructure Ops (</a:t>
            </a:r>
            <a:r>
              <a:rPr lang="en-US" dirty="0" err="1"/>
              <a:t>InfraOps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093112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92B23DF-6777-4C49-9A70-8915EE3E62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8" y="1140620"/>
            <a:ext cx="8267700" cy="2973387"/>
          </a:xfrm>
        </p:spPr>
        <p:txBody>
          <a:bodyPr>
            <a:noAutofit/>
          </a:bodyPr>
          <a:lstStyle/>
          <a:p>
            <a:r>
              <a:rPr lang="en-US" sz="1600" dirty="0"/>
              <a:t>You are going to act as a true Software Engineer in a DevOps environment (“DevOps Engineer” – in marketing terms)</a:t>
            </a:r>
          </a:p>
          <a:p>
            <a:r>
              <a:rPr lang="en-US" sz="1600" dirty="0"/>
              <a:t>Based on a given architecture you are going to juggle between all the DevOps main functional areas (System Administration, Infrastructure, Platform and Site Reliability Engineering) and set-up from scratch the necessary tools and a Continuous Delivery System on top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F6B602-7F34-4E15-9DDC-E07E06AD1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  <a:solidFill>
            <a:srgbClr val="FFFFFF"/>
          </a:solidFill>
          <a:ln/>
        </p:spPr>
        <p:txBody>
          <a:bodyPr lIns="0" tIns="25200" rIns="91440" bIns="0" anchor="t">
            <a:normAutofit/>
          </a:bodyPr>
          <a:lstStyle/>
          <a:p>
            <a:r>
              <a:rPr lang="en-US" dirty="0">
                <a:solidFill>
                  <a:srgbClr val="FFA500"/>
                </a:solidFill>
                <a:latin typeface="Arial" panose="020B0604020202020204" pitchFamily="34" charset="0"/>
              </a:rPr>
              <a:t>Concept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04CECF16-2328-4492-A22E-7D96B22F50C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9D08B0B8-5A90-41EA-9FD6-71162A607F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3D5C031-AD44-4FA4-B920-A2004996FE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731975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72EF8C9-0A4B-479F-9E4F-01673F7E9FB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1020977"/>
            <a:ext cx="8430001" cy="3429000"/>
          </a:xfrm>
        </p:spPr>
        <p:txBody>
          <a:bodyPr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ccess Jenkin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luginManag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service and check fo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ite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and install it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  <a:hlinkClick r:id="rId3"/>
              </a:rPr>
              <a:t>http://localhost:8080/pluginManager/availab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258AA8-99AA-4A21-A06D-0D6A999EB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Install </a:t>
            </a:r>
            <a:r>
              <a:rPr lang="en-US" dirty="0" err="1"/>
              <a:t>Gitea</a:t>
            </a:r>
            <a:r>
              <a:rPr lang="en-US" dirty="0"/>
              <a:t> Jenkins plug-in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BF9B593D-8DDE-454E-B6C6-1FD82933DF8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60FCDCD-1725-437A-A159-C87E64353C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0224701-5BE2-47FE-86AC-841BA01D0E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58CA7B-1D74-4DEB-977C-6B9564C53F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776" y="1970878"/>
            <a:ext cx="8604448" cy="171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58453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21FF221-1D38-4700-B6C2-F819DBE0D3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1140593"/>
            <a:ext cx="8430001" cy="3429000"/>
          </a:xfrm>
        </p:spPr>
        <p:txBody>
          <a:bodyPr>
            <a:no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cces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  <a:hlinkClick r:id="rId3"/>
              </a:rPr>
              <a:t>http://localhost:8080/safeRestar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lick 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Ye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ait for the restar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A500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og in again (user: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jenki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, password: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jenki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</a:t>
            </a: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6C6CB6-CE85-4371-A427-7375A94F7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Perform a Jenkins Safe Restart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2E58CAF0-EBEB-411E-98CE-0EA718F25BB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4D97D6C-4AAD-4A50-A85F-E30BB05DA6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F884597-C4D6-4337-9FBA-915A60C872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544009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0EF5D8-C9A4-425D-B0E6-B8EB1DA828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986619"/>
            <a:ext cx="8430001" cy="3582974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This is done in the system configuration page </a:t>
            </a:r>
            <a:r>
              <a:rPr lang="en-US" sz="1600" dirty="0">
                <a:hlinkClick r:id="rId3"/>
              </a:rPr>
              <a:t>http://localhost:8080/configu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Scroll down to the </a:t>
            </a:r>
            <a:r>
              <a:rPr lang="en-US" sz="1600" b="1" dirty="0" err="1"/>
              <a:t>Gitea</a:t>
            </a:r>
            <a:r>
              <a:rPr lang="en-US" sz="1600" b="1" dirty="0"/>
              <a:t> Server section </a:t>
            </a:r>
            <a:r>
              <a:rPr lang="en-US" sz="1600" dirty="0"/>
              <a:t>and </a:t>
            </a:r>
            <a:r>
              <a:rPr lang="en-US" sz="1600" b="1" dirty="0"/>
              <a:t>Add</a:t>
            </a:r>
            <a:r>
              <a:rPr lang="en-US" sz="1600" dirty="0"/>
              <a:t> a new one and then click on </a:t>
            </a:r>
            <a:r>
              <a:rPr lang="en-US" sz="1600" b="1" dirty="0"/>
              <a:t>Save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If Jenkins can access the server, it should display the </a:t>
            </a:r>
            <a:r>
              <a:rPr lang="en-US" sz="1600" dirty="0" err="1"/>
              <a:t>Gitea</a:t>
            </a:r>
            <a:r>
              <a:rPr lang="en-US" sz="1600" dirty="0"/>
              <a:t> Vers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DF8933-7985-446A-B73E-1BAE29CE7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Add </a:t>
            </a:r>
            <a:r>
              <a:rPr lang="en-US" dirty="0" err="1"/>
              <a:t>Gitea</a:t>
            </a:r>
            <a:r>
              <a:rPr lang="en-US" dirty="0"/>
              <a:t> server in Jenkins global scope 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F8AED67C-4E3E-4507-BFA9-0E80D83AE32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DDEE8EE-534C-41A5-91AD-597D724D11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A06CB43-73C6-4D0F-A012-B60BA8FAA7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A684CE-DDB2-4D1A-90C9-89AC236D55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6887" y="2057087"/>
            <a:ext cx="6372200" cy="26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81745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1BBD32-FC58-494E-80B3-E46802DF09F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915566"/>
            <a:ext cx="8430001" cy="3654027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We are going to set-up a webhook were </a:t>
            </a:r>
            <a:r>
              <a:rPr lang="en-US" sz="1600" dirty="0" err="1"/>
              <a:t>Gitea</a:t>
            </a:r>
            <a:r>
              <a:rPr lang="en-US" sz="1600" dirty="0"/>
              <a:t> will perform HTTP POST requests each time a new event happens globally.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This is done on the </a:t>
            </a:r>
            <a:r>
              <a:rPr lang="en-US" sz="1600" dirty="0" err="1"/>
              <a:t>Gitea</a:t>
            </a:r>
            <a:r>
              <a:rPr lang="en-US" sz="1600" dirty="0"/>
              <a:t> side, in site admins settings, in the Webhooks tab. Here is the direct link to it </a:t>
            </a:r>
            <a:r>
              <a:rPr lang="en-US" sz="1600" dirty="0">
                <a:hlinkClick r:id="rId3"/>
              </a:rPr>
              <a:t>http://localhost:3000/admin/hooks</a:t>
            </a: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E22D11-EA53-45BC-BA9C-66A9A3231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3" y="284623"/>
            <a:ext cx="8370445" cy="701996"/>
          </a:xfrm>
        </p:spPr>
        <p:txBody>
          <a:bodyPr/>
          <a:lstStyle/>
          <a:p>
            <a:r>
              <a:rPr lang="en-US" dirty="0"/>
              <a:t>Set-up the </a:t>
            </a:r>
            <a:r>
              <a:rPr lang="en-US" dirty="0" err="1"/>
              <a:t>Gitea</a:t>
            </a:r>
            <a:r>
              <a:rPr lang="en-US" dirty="0"/>
              <a:t> to Jenkins webhook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E18B8FC6-A5AC-47BB-8C60-6BC2C8F532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EEB6C2A-796E-4649-A311-F35F58DF7C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F68DA4-3A9B-4BA6-A7B4-A9D127669A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5A9CE6D-646F-4CE7-B793-99DB5E0B6C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864" y="2142405"/>
            <a:ext cx="7498271" cy="2013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88994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1F1ADAAA-5BF7-450D-B05D-E3FC95AB78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5811D55-E26B-486F-A0A7-97A3F95A0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7CB08BD-8AD9-4AA5-A225-89089226C8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F0818A-C5B5-4ABB-85B1-EA82B9F66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074" y="278320"/>
            <a:ext cx="6695851" cy="387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27434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0F2365-05BF-4F44-BF68-5502B2AD33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84623"/>
            <a:ext cx="8430000" cy="558340"/>
          </a:xfrm>
        </p:spPr>
        <p:txBody>
          <a:bodyPr/>
          <a:lstStyle/>
          <a:p>
            <a:r>
              <a:rPr lang="en-US" dirty="0"/>
              <a:t>3rd Part: Platform Ops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021F85E6-3F3F-4613-8B01-61788E3DEA5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DE22818-23DC-4AC7-8702-F161DB934C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F9FCF9C-FC1B-4750-9A6E-05FFB03442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F4A85DD7-4949-49E5-A865-4D09940D5BDF}"/>
              </a:ext>
            </a:extLst>
          </p:cNvPr>
          <p:cNvSpPr txBox="1">
            <a:spLocks/>
          </p:cNvSpPr>
          <p:nvPr/>
        </p:nvSpPr>
        <p:spPr>
          <a:xfrm>
            <a:off x="395289" y="1347788"/>
            <a:ext cx="8353425" cy="280828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rpose</a:t>
            </a:r>
            <a:r>
              <a:rPr lang="en-US" sz="1600" dirty="0"/>
              <a:t>: set-up the Continuous Delivery environment in Jenkins</a:t>
            </a:r>
          </a:p>
          <a:p>
            <a:r>
              <a:rPr lang="en-US" sz="1600" b="1" dirty="0"/>
              <a:t>Points</a:t>
            </a:r>
            <a:r>
              <a:rPr lang="en-US" sz="1600" dirty="0"/>
              <a:t>: 1 / 5</a:t>
            </a:r>
          </a:p>
        </p:txBody>
      </p:sp>
    </p:spTree>
    <p:extLst>
      <p:ext uri="{BB962C8B-B14F-4D97-AF65-F5344CB8AC3E}">
        <p14:creationId xmlns:p14="http://schemas.microsoft.com/office/powerpoint/2010/main" val="386256183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27BD06-0270-4A07-9870-B4E16BE500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2045" y="842963"/>
            <a:ext cx="8385944" cy="372663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In the Jenkins home page, click on </a:t>
            </a:r>
            <a:r>
              <a:rPr lang="en-US" sz="1600" b="1" dirty="0"/>
              <a:t>New Item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en-US" sz="1600" dirty="0"/>
              <a:t>Then proceed to create a </a:t>
            </a:r>
            <a:r>
              <a:rPr lang="en-US" sz="1600" dirty="0" err="1"/>
              <a:t>Gitea</a:t>
            </a:r>
            <a:r>
              <a:rPr lang="en-US" sz="1600" dirty="0"/>
              <a:t> Organization f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91A4D7-94EA-446A-AAC6-11F8712B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84623"/>
            <a:ext cx="8442701" cy="558340"/>
          </a:xfrm>
        </p:spPr>
        <p:txBody>
          <a:bodyPr/>
          <a:lstStyle/>
          <a:p>
            <a:r>
              <a:rPr lang="en-US" dirty="0"/>
              <a:t>Create the </a:t>
            </a:r>
            <a:r>
              <a:rPr lang="en-US" dirty="0" err="1"/>
              <a:t>Gitea</a:t>
            </a:r>
            <a:r>
              <a:rPr lang="en-US" dirty="0"/>
              <a:t> organization folder using the plugin</a:t>
            </a:r>
          </a:p>
        </p:txBody>
      </p:sp>
      <p:sp>
        <p:nvSpPr>
          <p:cNvPr id="20" name="Date Placeholder 19">
            <a:extLst>
              <a:ext uri="{FF2B5EF4-FFF2-40B4-BE49-F238E27FC236}">
                <a16:creationId xmlns:a16="http://schemas.microsoft.com/office/drawing/2014/main" id="{854DA815-223A-4234-925F-AB3163357C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10C525E6-C66E-41FE-9E76-D89E26E9A5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835A8CA8-D6AE-4CCA-86C7-1F117EF50F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6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BA51E6-877B-4F47-8A67-356A38F560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863" y="842963"/>
            <a:ext cx="1902519" cy="17790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C2F23CB-4282-42F9-B8FA-14BF6A6D8C12}"/>
              </a:ext>
            </a:extLst>
          </p:cNvPr>
          <p:cNvSpPr txBox="1"/>
          <p:nvPr/>
        </p:nvSpPr>
        <p:spPr>
          <a:xfrm>
            <a:off x="8058448" y="1533143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 / 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E72E43-3058-490E-A564-03A2DDE3759C}"/>
              </a:ext>
            </a:extLst>
          </p:cNvPr>
          <p:cNvSpPr txBox="1"/>
          <p:nvPr/>
        </p:nvSpPr>
        <p:spPr>
          <a:xfrm>
            <a:off x="3989116" y="2457500"/>
            <a:ext cx="6335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 / 6</a:t>
            </a:r>
          </a:p>
          <a:p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87FFC8D-A157-409B-8EC3-7CE72B9EF4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00" y="1578653"/>
            <a:ext cx="2688368" cy="279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39679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9552CDC-3195-4043-BC61-DA7F4B2651DF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539551" y="483046"/>
            <a:ext cx="6763037" cy="4104928"/>
          </a:xfrm>
        </p:spPr>
      </p:pic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2DC3C4CC-A494-4B49-B50E-44E9807A66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199444F-EDD1-47B4-A56B-55624D9F6A48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3A581F5-2625-46AD-B463-89828E5942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501704C-42B6-456F-B6ED-5DE0B45449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7</a:t>
            </a:fld>
            <a:endParaRPr lang="en-US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310936-51C6-48E3-8295-62A4402B5C5A}"/>
              </a:ext>
            </a:extLst>
          </p:cNvPr>
          <p:cNvSpPr txBox="1"/>
          <p:nvPr/>
        </p:nvSpPr>
        <p:spPr>
          <a:xfrm>
            <a:off x="7321546" y="2039593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 / 6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8466EC96-C2AB-49CD-A178-CA8D143A7253}"/>
              </a:ext>
            </a:extLst>
          </p:cNvPr>
          <p:cNvSpPr txBox="1">
            <a:spLocks/>
          </p:cNvSpPr>
          <p:nvPr/>
        </p:nvSpPr>
        <p:spPr>
          <a:xfrm>
            <a:off x="395287" y="195486"/>
            <a:ext cx="8353425" cy="64747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You will be prompted to the Job configuration Page, don’t save yet.</a:t>
            </a:r>
          </a:p>
        </p:txBody>
      </p:sp>
    </p:spTree>
    <p:extLst>
      <p:ext uri="{BB962C8B-B14F-4D97-AF65-F5344CB8AC3E}">
        <p14:creationId xmlns:p14="http://schemas.microsoft.com/office/powerpoint/2010/main" val="200630459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AC3EE15F-5D95-4299-A6FD-96D15D61538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C8F890B-224D-4D35-987D-C67C1937D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B94F924C-557E-4336-87A4-A29FFA566D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8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31D4A4-1B7E-416F-99F8-53B8E6CE6F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481"/>
          <a:stretch/>
        </p:blipFill>
        <p:spPr>
          <a:xfrm>
            <a:off x="474641" y="987574"/>
            <a:ext cx="6245805" cy="32555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C1A2A89-11EB-4830-9950-88638D711817}"/>
              </a:ext>
            </a:extLst>
          </p:cNvPr>
          <p:cNvSpPr txBox="1"/>
          <p:nvPr/>
        </p:nvSpPr>
        <p:spPr>
          <a:xfrm>
            <a:off x="6890821" y="222425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 / 6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9300D663-B838-4B70-B56B-B992C8ABDF35}"/>
              </a:ext>
            </a:extLst>
          </p:cNvPr>
          <p:cNvSpPr txBox="1">
            <a:spLocks/>
          </p:cNvSpPr>
          <p:nvPr/>
        </p:nvSpPr>
        <p:spPr>
          <a:xfrm>
            <a:off x="395287" y="195486"/>
            <a:ext cx="8353425" cy="64747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You will be prompted to the Job configuration Page, don’t save yet.</a:t>
            </a:r>
          </a:p>
        </p:txBody>
      </p:sp>
    </p:spTree>
    <p:extLst>
      <p:ext uri="{BB962C8B-B14F-4D97-AF65-F5344CB8AC3E}">
        <p14:creationId xmlns:p14="http://schemas.microsoft.com/office/powerpoint/2010/main" val="1215437296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883C063-5C98-4AC6-AD09-4423808A71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05D7B76-892C-4A78-B94E-ABD05C9282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7007CC3-3C56-4E0A-9448-5925416B81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9</a:t>
            </a:fld>
            <a:endParaRPr lang="en-US" noProof="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6A7356-8D59-43DC-9FE6-0D5684B6753C}"/>
              </a:ext>
            </a:extLst>
          </p:cNvPr>
          <p:cNvSpPr txBox="1"/>
          <p:nvPr/>
        </p:nvSpPr>
        <p:spPr>
          <a:xfrm>
            <a:off x="1745499" y="962390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 / 6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76ADCA-7C6E-49DA-AF13-600CB8F725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288" y="1315642"/>
            <a:ext cx="3588352" cy="14174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B00CB9-F5B0-4804-BDD7-14208B9459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7558"/>
          <a:stretch/>
        </p:blipFill>
        <p:spPr>
          <a:xfrm>
            <a:off x="4067945" y="937776"/>
            <a:ext cx="4128920" cy="300212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0DD5F7D-3553-48B2-B597-FFD105EF8A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3648" y="2816774"/>
            <a:ext cx="2310659" cy="1417463"/>
          </a:xfrm>
          <a:prstGeom prst="rect">
            <a:avLst/>
          </a:prstGeom>
        </p:spPr>
      </p:pic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06915AF6-FFA3-4F01-8B96-8A84D1BE1F87}"/>
              </a:ext>
            </a:extLst>
          </p:cNvPr>
          <p:cNvSpPr txBox="1">
            <a:spLocks/>
          </p:cNvSpPr>
          <p:nvPr/>
        </p:nvSpPr>
        <p:spPr>
          <a:xfrm>
            <a:off x="359407" y="195486"/>
            <a:ext cx="8425185" cy="658621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lso you have to add the credentials that have access to the specified organization (Owner)</a:t>
            </a:r>
          </a:p>
          <a:p>
            <a:r>
              <a:rPr lang="en-US"/>
              <a:t>These credentials are going to be available only for </a:t>
            </a:r>
            <a:r>
              <a:rPr lang="en-US" b="1"/>
              <a:t>cd-gitea-ISSA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4420260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1052619-B0EF-4C01-B26C-CAAEC2D0DC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3092" y="1141413"/>
            <a:ext cx="2757816" cy="2973387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39710DD-7129-462A-A652-D6CB07EB6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 anchor="t">
            <a:normAutofit/>
          </a:bodyPr>
          <a:lstStyle/>
          <a:p>
            <a:r>
              <a:rPr lang="en-US" dirty="0"/>
              <a:t>Arch – Infrastructur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A534E807-7F02-456B-8359-446C62294E0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CD5BEAB-ECF5-4329-B0E6-A1529023C5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08B70F2-C07C-4863-A2FA-2D6ABB34B3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7459174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26002CFD-4862-4B21-8C55-131B6E6F75E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62D542E-E2DD-446D-BFDC-75A3B80E75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BE78254-9B4E-4C47-82EA-5A77C9F6E1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0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DEB33F-81FB-464C-AA75-D9A2C8AF8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144" y="907466"/>
            <a:ext cx="8113060" cy="7641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518FCB-AD62-449C-809F-F9F7CF9898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3648" y="1851670"/>
            <a:ext cx="4576447" cy="228033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64AA928-2CB7-4B1D-9B75-AB4AC499B6FD}"/>
              </a:ext>
            </a:extLst>
          </p:cNvPr>
          <p:cNvSpPr txBox="1"/>
          <p:nvPr/>
        </p:nvSpPr>
        <p:spPr>
          <a:xfrm>
            <a:off x="6491069" y="267370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 / 6</a:t>
            </a: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6537559C-FB41-48E5-88E6-75AA3B6E82D2}"/>
              </a:ext>
            </a:extLst>
          </p:cNvPr>
          <p:cNvSpPr txBox="1">
            <a:spLocks/>
          </p:cNvSpPr>
          <p:nvPr/>
        </p:nvSpPr>
        <p:spPr>
          <a:xfrm>
            <a:off x="407956" y="267494"/>
            <a:ext cx="8353425" cy="575469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Go down into the job configuration page and update the following configurations and </a:t>
            </a:r>
            <a:r>
              <a:rPr lang="en-US" sz="1500" b="1"/>
              <a:t>Save</a:t>
            </a:r>
            <a:endParaRPr lang="en-US" sz="1500" b="1" dirty="0"/>
          </a:p>
        </p:txBody>
      </p:sp>
    </p:spTree>
    <p:extLst>
      <p:ext uri="{BB962C8B-B14F-4D97-AF65-F5344CB8AC3E}">
        <p14:creationId xmlns:p14="http://schemas.microsoft.com/office/powerpoint/2010/main" val="2362448012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D0F3AF7-0F1B-4B42-99B7-8AFC19031BB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556BE2A-F6B1-4865-BAD1-E4DA3EFFF0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90FEE75-9C09-4EF4-8DB1-540C68580E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1</a:t>
            </a:fld>
            <a:endParaRPr lang="en-US" noProof="0" dirty="0"/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41810DDC-FEAE-458B-8C44-9FD12B896210}"/>
              </a:ext>
            </a:extLst>
          </p:cNvPr>
          <p:cNvSpPr txBox="1">
            <a:spLocks/>
          </p:cNvSpPr>
          <p:nvPr/>
        </p:nvSpPr>
        <p:spPr>
          <a:xfrm>
            <a:off x="395289" y="1347788"/>
            <a:ext cx="8353425" cy="280828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rpose</a:t>
            </a:r>
            <a:r>
              <a:rPr lang="en-US" sz="1600" dirty="0"/>
              <a:t>: set-up the production environment, software development environment and the required configuration management particularities</a:t>
            </a:r>
          </a:p>
          <a:p>
            <a:r>
              <a:rPr lang="en-US" sz="1600" b="1" dirty="0"/>
              <a:t>Points</a:t>
            </a:r>
            <a:r>
              <a:rPr lang="en-US" sz="1600" dirty="0"/>
              <a:t>: 1 / 5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83A0C201-0B89-47CE-A573-96C723998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/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Part: Site Reliability Engineering Ops (</a:t>
            </a:r>
            <a:r>
              <a:rPr lang="en-US" dirty="0" err="1"/>
              <a:t>SREOps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70435337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64BFC8C-5469-40E3-A397-4C5285CF0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Create a new </a:t>
            </a:r>
            <a:r>
              <a:rPr lang="en-US" dirty="0" err="1"/>
              <a:t>Gitea</a:t>
            </a:r>
            <a:r>
              <a:rPr lang="en-US" dirty="0"/>
              <a:t> organization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37A9A51-2633-4EB5-AA7E-83B8BE3723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0EA8A02-C905-4A53-B8AC-3DF132086F3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6500CC0-3C10-45C6-8B17-044C65650D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2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25415F-F2AE-41CD-8D9D-495134AE2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5145" y="1485827"/>
            <a:ext cx="6453709" cy="11353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9E1833-6776-48E4-979E-79A6B2D4C6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7744" y="2467554"/>
            <a:ext cx="4404915" cy="1818720"/>
          </a:xfrm>
          <a:prstGeom prst="rect">
            <a:avLst/>
          </a:prstGeom>
        </p:spPr>
      </p:pic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7548A64B-68B0-496E-BB68-20A3057EFB5B}"/>
              </a:ext>
            </a:extLst>
          </p:cNvPr>
          <p:cNvSpPr txBox="1">
            <a:spLocks/>
          </p:cNvSpPr>
          <p:nvPr/>
        </p:nvSpPr>
        <p:spPr>
          <a:xfrm>
            <a:off x="395289" y="915567"/>
            <a:ext cx="8353425" cy="504056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Access Gitea homepage </a:t>
            </a:r>
            <a:r>
              <a:rPr lang="en-US" sz="1500">
                <a:hlinkClick r:id="rId5"/>
              </a:rPr>
              <a:t>http://localhost:3000/</a:t>
            </a:r>
            <a:r>
              <a:rPr lang="en-US" sz="1500"/>
              <a:t> and proceed creating your ISSA organization</a:t>
            </a:r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775848385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693E93-2FF7-4620-8030-02AC0106C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84623"/>
            <a:ext cx="8442701" cy="558935"/>
          </a:xfrm>
        </p:spPr>
        <p:txBody>
          <a:bodyPr/>
          <a:lstStyle/>
          <a:p>
            <a:r>
              <a:rPr lang="en-US" dirty="0"/>
              <a:t>Create your project Git repository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B7721355-475C-4964-BB9C-EB9F1A0DF91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FB479B8-1035-4A20-9607-0DB5FE0E87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E1CA0F2-4BBD-4082-879E-A080AC224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3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A6D2FC-6E5D-4466-8056-0A858A2FF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982" y="1598308"/>
            <a:ext cx="8604448" cy="1766083"/>
          </a:xfrm>
          <a:prstGeom prst="rect">
            <a:avLst/>
          </a:prstGeom>
        </p:spPr>
      </p:pic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ADE5101E-9B62-4FA4-9602-9AC954AA7552}"/>
              </a:ext>
            </a:extLst>
          </p:cNvPr>
          <p:cNvSpPr txBox="1">
            <a:spLocks/>
          </p:cNvSpPr>
          <p:nvPr/>
        </p:nvSpPr>
        <p:spPr>
          <a:xfrm>
            <a:off x="383494" y="843558"/>
            <a:ext cx="8353425" cy="2808287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From your ISSA’s organization dashboard page </a:t>
            </a:r>
            <a:r>
              <a:rPr lang="en-US" sz="1600">
                <a:hlinkClick r:id="rId4"/>
              </a:rPr>
              <a:t>http://localhost:3000/org/ISSA/dashboard</a:t>
            </a:r>
            <a:r>
              <a:rPr lang="en-US" sz="1600"/>
              <a:t>, proceed creating your project’s Git reposito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37586583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5AA6A6DD-D3A2-438F-B5AE-F1C457EFDA1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0A3750C4-5C67-4CD9-BDE1-871B817654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A05F62A-7704-4A69-AFB3-32E3DA2F5D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4</a:t>
            </a:fld>
            <a:endParaRPr lang="en-US" noProof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7AFC2E-3873-4524-85BA-BE9699D8B4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3" y="195262"/>
            <a:ext cx="5117317" cy="4248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97042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AE327521-2281-470F-AF7F-C9D3AE5C5CB9}"/>
              </a:ext>
            </a:extLst>
          </p:cNvPr>
          <p:cNvSpPr txBox="1">
            <a:spLocks/>
          </p:cNvSpPr>
          <p:nvPr/>
        </p:nvSpPr>
        <p:spPr>
          <a:xfrm>
            <a:off x="395289" y="915566"/>
            <a:ext cx="8353425" cy="3600872"/>
          </a:xfrm>
          <a:prstGeom prst="rect">
            <a:avLst/>
          </a:prstGeom>
        </p:spPr>
        <p:txBody>
          <a:bodyPr>
            <a:normAutofit/>
          </a:bodyPr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From your repository page </a:t>
            </a:r>
            <a:r>
              <a:rPr lang="en-US" sz="1600" dirty="0">
                <a:hlinkClick r:id="rId3"/>
              </a:rPr>
              <a:t>http://localhost:3000/ISSA/project</a:t>
            </a:r>
            <a:r>
              <a:rPr lang="en-US" sz="1600" dirty="0"/>
              <a:t>. Via the New File or Upload File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The New File will prompt your to a page where you can specify the file name (or relative path) and edit it on the spot.</a:t>
            </a:r>
          </a:p>
          <a:p>
            <a:r>
              <a:rPr lang="en-US" sz="1600" dirty="0"/>
              <a:t>The Upload File will prompt your to a page where you can drag and drop files to be commit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4E2970-1FDC-4306-B80F-75DD73D86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How to commit a new file(s)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217950A4-6DE5-4C96-9CC5-69F35951797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683CC77-B086-4FA3-AAD4-80B8969B6E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241A72D-EA7F-4602-8066-76F416C7FA3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5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22A6F59-CBF5-4612-B105-1C78BB8038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7888" y="1617562"/>
            <a:ext cx="6588224" cy="157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33176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6FDE2A5-7377-4302-AEE8-86507829E38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E2DB79E-B313-4FE2-9026-DA67A91E33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F4053923-109D-4E51-82EB-F7EE2DFC56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6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79C617-3778-43BB-A057-D89D7982A4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3475" y="2373499"/>
            <a:ext cx="6300192" cy="2170900"/>
          </a:xfrm>
          <a:prstGeom prst="rect">
            <a:avLst/>
          </a:prstGeom>
        </p:spPr>
      </p:pic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6E9C3F1C-1B4C-4AF1-AAD3-1054081C73AB}"/>
              </a:ext>
            </a:extLst>
          </p:cNvPr>
          <p:cNvSpPr txBox="1">
            <a:spLocks/>
          </p:cNvSpPr>
          <p:nvPr/>
        </p:nvSpPr>
        <p:spPr>
          <a:xfrm>
            <a:off x="395286" y="1023938"/>
            <a:ext cx="8353425" cy="28082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255" indent="-135255">
              <a:lnSpc>
                <a:spcPct val="150000"/>
              </a:lnSpc>
            </a:pPr>
            <a:r>
              <a:rPr lang="en-US" sz="1600" dirty="0"/>
              <a:t>From your repository page </a:t>
            </a:r>
            <a:r>
              <a:rPr lang="en-US" sz="1600" dirty="0">
                <a:hlinkClick r:id="rId4"/>
              </a:rPr>
              <a:t>http://localhost:3000/ISSA/project</a:t>
            </a:r>
            <a:r>
              <a:rPr lang="en-US" sz="1600" dirty="0"/>
              <a:t>. Navigate to the desired file to be edited. README.md for example </a:t>
            </a:r>
            <a:r>
              <a:rPr lang="en-US" sz="1600" dirty="0">
                <a:hlinkClick r:id="rId5"/>
              </a:rPr>
              <a:t>http://localhost:3000/ISSA/project/src/branch/master/README.md</a:t>
            </a:r>
            <a:r>
              <a:rPr lang="en-US" sz="1600" dirty="0"/>
              <a:t> and click on the edit button.</a:t>
            </a:r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A9D0C593-AEF6-46DB-9484-1C2DB853D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/>
          <a:p>
            <a:r>
              <a:rPr lang="en-US" dirty="0"/>
              <a:t>How to edit a committed file</a:t>
            </a:r>
          </a:p>
        </p:txBody>
      </p:sp>
    </p:spTree>
    <p:extLst>
      <p:ext uri="{BB962C8B-B14F-4D97-AF65-F5344CB8AC3E}">
        <p14:creationId xmlns:p14="http://schemas.microsoft.com/office/powerpoint/2010/main" val="2204266640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D92D4E-A349-48B6-9309-ED2B120B6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Initial </a:t>
            </a:r>
            <a:r>
              <a:rPr lang="en-US" dirty="0" err="1"/>
              <a:t>Jenkinsfile</a:t>
            </a:r>
            <a:endParaRPr lang="en-US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9D51201C-4D1C-4B66-9AFA-4765E8CB84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563152-61F1-4818-A878-D51AD30F59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8F9C72-C118-4424-BEAE-7BD956FB76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7</a:t>
            </a:fld>
            <a:endParaRPr lang="en-US" noProof="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33803A9F-A83C-4155-A38F-30B8DAA7A108}"/>
              </a:ext>
            </a:extLst>
          </p:cNvPr>
          <p:cNvSpPr txBox="1">
            <a:spLocks/>
          </p:cNvSpPr>
          <p:nvPr/>
        </p:nvSpPr>
        <p:spPr>
          <a:xfrm>
            <a:off x="395289" y="915566"/>
            <a:ext cx="8353425" cy="324050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255" indent="-135255">
              <a:lnSpc>
                <a:spcPct val="150000"/>
              </a:lnSpc>
            </a:pPr>
            <a:r>
              <a:rPr lang="en-US" sz="1600"/>
              <a:t>Commit a new file called </a:t>
            </a:r>
            <a:r>
              <a:rPr lang="en-US" sz="1600" b="1"/>
              <a:t>Jenkinsfile</a:t>
            </a:r>
            <a:endParaRPr lang="en-US"/>
          </a:p>
          <a:p>
            <a:pPr marL="135255" indent="-135255">
              <a:lnSpc>
                <a:spcPct val="150000"/>
              </a:lnSpc>
            </a:pPr>
            <a:r>
              <a:rPr lang="en-US" sz="1600"/>
              <a:t>It should have only one line</a:t>
            </a:r>
          </a:p>
          <a:p>
            <a:pPr marL="269875" lvl="1" indent="-135255">
              <a:lnSpc>
                <a:spcPct val="150000"/>
              </a:lnSpc>
            </a:pPr>
            <a:r>
              <a:rPr lang="en-US" sz="1600" b="1"/>
              <a:t>sleep 10</a:t>
            </a:r>
          </a:p>
          <a:p>
            <a:pPr marL="135255" indent="-135255">
              <a:lnSpc>
                <a:spcPct val="150000"/>
              </a:lnSpc>
            </a:pPr>
            <a:r>
              <a:rPr lang="en-US" sz="1600"/>
              <a:t>After that go to </a:t>
            </a:r>
            <a:r>
              <a:rPr lang="en-US" sz="1600">
                <a:hlinkClick r:id="rId3"/>
              </a:rPr>
              <a:t>http://localhost:8080/job/cd-issa-gitea/</a:t>
            </a:r>
            <a:r>
              <a:rPr lang="en-US" sz="1600"/>
              <a:t>, the Gitea Jenkins Project that you created at the 3</a:t>
            </a:r>
            <a:r>
              <a:rPr lang="en-US" sz="1600" baseline="30000"/>
              <a:t>rd</a:t>
            </a:r>
            <a:r>
              <a:rPr lang="en-US" sz="1600"/>
              <a:t> Step.</a:t>
            </a:r>
          </a:p>
          <a:p>
            <a:pPr marL="135255" indent="-135255">
              <a:lnSpc>
                <a:spcPct val="150000"/>
              </a:lnSpc>
            </a:pPr>
            <a:r>
              <a:rPr lang="en-US" sz="1600"/>
              <a:t>From the menu of the left, click on </a:t>
            </a:r>
            <a:r>
              <a:rPr lang="en-US" sz="1600" b="1"/>
              <a:t>Scan Gitea Organization Now.</a:t>
            </a:r>
          </a:p>
          <a:p>
            <a:pPr marL="135255" indent="-135255">
              <a:lnSpc>
                <a:spcPct val="150000"/>
              </a:lnSpc>
            </a:pPr>
            <a:r>
              <a:rPr lang="en-US" sz="1600"/>
              <a:t>Now the ISSA/project repository should have it’s own </a:t>
            </a:r>
            <a:r>
              <a:rPr lang="en-US" sz="1600" b="1"/>
              <a:t>project </a:t>
            </a:r>
            <a:r>
              <a:rPr lang="en-US" sz="1600"/>
              <a:t>folder with it’s own Jenkins job for the </a:t>
            </a:r>
            <a:r>
              <a:rPr lang="en-US" sz="1600" b="1"/>
              <a:t>master </a:t>
            </a:r>
            <a:r>
              <a:rPr lang="en-US" sz="1600"/>
              <a:t>branch that only sleeps 10 seconds at each new change / commit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391369738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1561F8-BC8A-4ABC-ACE4-92DDD1E4B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Add your project source code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C2293C05-1241-4AEA-BD1E-6D99AB75F08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8BC2F42-64C0-4542-BC57-E47841C525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3FC7530-953C-4AAD-BEA1-9FFC20FDDF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8</a:t>
            </a:fld>
            <a:endParaRPr lang="en-US" noProof="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385B6F8-4D73-419C-9D47-5C5437587649}"/>
              </a:ext>
            </a:extLst>
          </p:cNvPr>
          <p:cNvSpPr txBox="1">
            <a:spLocks/>
          </p:cNvSpPr>
          <p:nvPr/>
        </p:nvSpPr>
        <p:spPr>
          <a:xfrm>
            <a:off x="408579" y="1023938"/>
            <a:ext cx="8340135" cy="344446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255" indent="-135255">
              <a:lnSpc>
                <a:spcPct val="150000"/>
              </a:lnSpc>
            </a:pPr>
            <a:r>
              <a:rPr lang="en-US" sz="1600"/>
              <a:t>Go to </a:t>
            </a:r>
            <a:r>
              <a:rPr lang="en-US" sz="1600">
                <a:hlinkClick r:id="rId3"/>
              </a:rPr>
              <a:t>https://github.com/whymex/issa-cd-fii</a:t>
            </a:r>
            <a:r>
              <a:rPr lang="en-US" sz="1600"/>
              <a:t> and port the following files, keeping the directory structure in your Gitea repository</a:t>
            </a:r>
            <a:endParaRPr lang="en-US"/>
          </a:p>
          <a:p>
            <a:pPr marL="269875" lvl="1" indent="-135255">
              <a:lnSpc>
                <a:spcPct val="150000"/>
              </a:lnSpc>
            </a:pPr>
            <a:r>
              <a:rPr lang="en-US" sz="1600" b="1"/>
              <a:t>dev-requirements.txt</a:t>
            </a:r>
          </a:p>
          <a:p>
            <a:pPr marL="269875" lvl="1" indent="-135255">
              <a:lnSpc>
                <a:spcPct val="150000"/>
              </a:lnSpc>
            </a:pPr>
            <a:r>
              <a:rPr lang="en-US" sz="1600" b="1"/>
              <a:t>requirements.txt</a:t>
            </a:r>
          </a:p>
          <a:p>
            <a:pPr marL="269875" lvl="1" indent="-135255">
              <a:lnSpc>
                <a:spcPct val="150000"/>
              </a:lnSpc>
            </a:pPr>
            <a:r>
              <a:rPr lang="en-US" sz="1600" b="1"/>
              <a:t>project/__init__.py</a:t>
            </a:r>
          </a:p>
          <a:p>
            <a:pPr marL="269875" lvl="1" indent="-135255">
              <a:lnSpc>
                <a:spcPct val="150000"/>
              </a:lnSpc>
            </a:pPr>
            <a:r>
              <a:rPr lang="en-US" sz="1600" b="1"/>
              <a:t>project/project.py</a:t>
            </a:r>
          </a:p>
          <a:p>
            <a:pPr marL="135255" indent="-135255">
              <a:lnSpc>
                <a:spcPct val="150000"/>
              </a:lnSpc>
            </a:pPr>
            <a:r>
              <a:rPr lang="en-US" sz="1600" b="1"/>
              <a:t>Commit each file individually. </a:t>
            </a:r>
            <a:r>
              <a:rPr lang="en-US" sz="1600"/>
              <a:t>4 Jenkins builds (that still do nothing) should get triggered.</a:t>
            </a:r>
          </a:p>
          <a:p>
            <a:pPr marL="269875" lvl="1" indent="-135255"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270467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A81210-8500-4B87-823E-562475359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 err="1"/>
              <a:t>Jenkinsfile</a:t>
            </a:r>
            <a:r>
              <a:rPr lang="en-US" dirty="0"/>
              <a:t> code 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9BAE824E-D832-465F-8E8E-40918741A6A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91FB52A4-4B3A-4AF3-BBC0-5B1F49FE2E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13A81D6-FC25-47E6-83CB-FD128EBA1A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9</a:t>
            </a:fld>
            <a:endParaRPr lang="en-US" noProof="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31016E2B-48BC-46D7-B803-BF28A32EB537}"/>
              </a:ext>
            </a:extLst>
          </p:cNvPr>
          <p:cNvSpPr txBox="1">
            <a:spLocks/>
          </p:cNvSpPr>
          <p:nvPr/>
        </p:nvSpPr>
        <p:spPr>
          <a:xfrm>
            <a:off x="395289" y="1347788"/>
            <a:ext cx="8353425" cy="28082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255" indent="-135255">
              <a:lnSpc>
                <a:spcPct val="150000"/>
              </a:lnSpc>
            </a:pPr>
            <a:r>
              <a:rPr lang="en-US" sz="1800"/>
              <a:t>Edit the Jenkinsfile from your Gitea repository and copy paste the code from </a:t>
            </a:r>
            <a:r>
              <a:rPr lang="en-US" sz="1800">
                <a:hlinkClick r:id="rId3"/>
              </a:rPr>
              <a:t>https://github.com/whymex/issa-cd-fii/blob/master/Jenkinsfile</a:t>
            </a:r>
            <a:endParaRPr lang="en-US" sz="1600"/>
          </a:p>
          <a:p>
            <a:pPr marL="135255" indent="-135255">
              <a:lnSpc>
                <a:spcPct val="150000"/>
              </a:lnSpc>
            </a:pPr>
            <a:r>
              <a:rPr lang="en-US" sz="1800"/>
              <a:t>Observe what’s happening in Jenkins and check the Console Output</a:t>
            </a:r>
          </a:p>
          <a:p>
            <a:pPr marL="269875" lvl="1" indent="-135255">
              <a:lnSpc>
                <a:spcPct val="150000"/>
              </a:lnSpc>
            </a:pPr>
            <a:r>
              <a:rPr lang="en-US" sz="1800">
                <a:solidFill>
                  <a:srgbClr val="FF0000"/>
                </a:solidFill>
              </a:rPr>
              <a:t>Hint: In case of error, check system environment variable for python</a:t>
            </a:r>
          </a:p>
          <a:p>
            <a:pPr marL="135255" indent="-135255">
              <a:lnSpc>
                <a:spcPct val="150000"/>
              </a:lnSpc>
            </a:pPr>
            <a:r>
              <a:rPr lang="en-US" sz="1800"/>
              <a:t>Observe what happened in Gitea after the pipeline execu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300689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A1EB78E-2B2A-482D-B91D-8A6A16BC6E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3212" y="1140593"/>
            <a:ext cx="3317556" cy="3429000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AA656F0-A69B-4B89-AF7D-5514AB038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 anchor="t">
            <a:normAutofit/>
          </a:bodyPr>
          <a:lstStyle/>
          <a:p>
            <a:r>
              <a:rPr lang="en-US" dirty="0"/>
              <a:t>Arch – Infra – Toolchain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8E9B8EFC-C8E1-43B4-9284-FFFAD0E6D8B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F6C27CB-873C-4735-9B63-B511C0EDC9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A806081A-EA6E-463F-AE3F-1EFDFB3A3E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54141458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DA4857-85EC-4404-865C-3CC1EB17C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Fix the code style and make the pipeline succeed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10B3CE24-24FE-4527-A0C9-DC20BC2DA9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97E9559-53C7-436A-BBE2-15D85F3113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061C61C-FB13-4FB2-B5CA-7C7CFED333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0</a:t>
            </a:fld>
            <a:endParaRPr lang="en-US" noProof="0" dirty="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CC68B251-4F61-43A7-8EEE-9988E0EB1287}"/>
              </a:ext>
            </a:extLst>
          </p:cNvPr>
          <p:cNvSpPr txBox="1">
            <a:spLocks/>
          </p:cNvSpPr>
          <p:nvPr/>
        </p:nvSpPr>
        <p:spPr>
          <a:xfrm>
            <a:off x="395289" y="1347788"/>
            <a:ext cx="8353425" cy="280828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255" indent="-135255">
              <a:lnSpc>
                <a:spcPct val="150000"/>
              </a:lnSpc>
            </a:pPr>
            <a:r>
              <a:rPr lang="en-US" sz="1600" dirty="0"/>
              <a:t>Fix the variables naming from </a:t>
            </a:r>
            <a:r>
              <a:rPr lang="en-US" sz="1600" b="1" dirty="0"/>
              <a:t>project/project.py </a:t>
            </a:r>
            <a:r>
              <a:rPr lang="en-US" sz="1600" dirty="0"/>
              <a:t>by replacing x and y with </a:t>
            </a:r>
            <a:r>
              <a:rPr lang="en-US" sz="1600" dirty="0" err="1"/>
              <a:t>first_number</a:t>
            </a:r>
            <a:r>
              <a:rPr lang="en-US" sz="1600" dirty="0"/>
              <a:t> and </a:t>
            </a:r>
            <a:r>
              <a:rPr lang="en-US" sz="1600" dirty="0" err="1"/>
              <a:t>second_number</a:t>
            </a:r>
            <a:endParaRPr lang="en-US" sz="1600" dirty="0"/>
          </a:p>
          <a:p>
            <a:pPr marL="135255" indent="-135255">
              <a:lnSpc>
                <a:spcPct val="150000"/>
              </a:lnSpc>
            </a:pPr>
            <a:r>
              <a:rPr lang="en-US" sz="1600" dirty="0"/>
              <a:t>Commit the changes and analyze the Jenkins pipeline execution</a:t>
            </a:r>
          </a:p>
        </p:txBody>
      </p:sp>
    </p:spTree>
    <p:extLst>
      <p:ext uri="{BB962C8B-B14F-4D97-AF65-F5344CB8AC3E}">
        <p14:creationId xmlns:p14="http://schemas.microsoft.com/office/powerpoint/2010/main" val="3956828881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F3FFCB-0A0F-45FE-8BDC-C2F018C57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84623"/>
            <a:ext cx="8442701" cy="701996"/>
          </a:xfrm>
        </p:spPr>
        <p:txBody>
          <a:bodyPr/>
          <a:lstStyle/>
          <a:p>
            <a:r>
              <a:rPr lang="en-US" dirty="0"/>
              <a:t>Exercise: Add a build badge to README.md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9E0437DC-3C39-448A-B8B2-04FDD72324C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79DF581-5FC8-4C4E-8D93-8681BE23C7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© Continental AG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4201961-304E-4006-A730-317F6D6EAC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1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214D9D-3368-4863-8A00-B9AE786146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8048" y="2065356"/>
            <a:ext cx="3707904" cy="1144279"/>
          </a:xfrm>
          <a:prstGeom prst="rect">
            <a:avLst/>
          </a:prstGeom>
        </p:spPr>
      </p:pic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DB18F9F7-02E4-484B-8A9A-7561F1A55178}"/>
              </a:ext>
            </a:extLst>
          </p:cNvPr>
          <p:cNvSpPr txBox="1">
            <a:spLocks/>
          </p:cNvSpPr>
          <p:nvPr/>
        </p:nvSpPr>
        <p:spPr>
          <a:xfrm>
            <a:off x="395288" y="729283"/>
            <a:ext cx="8353425" cy="3816424"/>
          </a:xfrm>
          <a:prstGeom prst="rect">
            <a:avLst/>
          </a:prstGeom>
        </p:spPr>
        <p:txBody>
          <a:bodyPr/>
          <a:lstStyle>
            <a:lvl1pPr marL="135731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0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673894" indent="-135731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35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75000" indent="-135000" algn="l" defTabSz="9143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Points</a:t>
            </a:r>
            <a:r>
              <a:rPr lang="en-US" sz="1800" dirty="0"/>
              <a:t>: 1 / 5</a:t>
            </a:r>
          </a:p>
          <a:p>
            <a:r>
              <a:rPr lang="en-US" sz="1800" dirty="0"/>
              <a:t>The majority of the opensource project have inside their README.md a badge like icon that displays the build / pipeline execution status.</a:t>
            </a:r>
          </a:p>
          <a:p>
            <a:r>
              <a:rPr lang="en-US" sz="1800" dirty="0"/>
              <a:t>Example: </a:t>
            </a:r>
            <a:r>
              <a:rPr lang="en-US" sz="1800" dirty="0">
                <a:hlinkClick r:id="rId4"/>
              </a:rPr>
              <a:t>https://github.com/BurntSushi/ripgrep</a:t>
            </a:r>
            <a:endParaRPr lang="en-US" sz="20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>
                <a:solidFill>
                  <a:srgbClr val="FF0000"/>
                </a:solidFill>
              </a:rPr>
              <a:t>Hints</a:t>
            </a:r>
            <a:r>
              <a:rPr lang="en-US" sz="1800" dirty="0"/>
              <a:t>:</a:t>
            </a:r>
          </a:p>
          <a:p>
            <a:pPr lvl="1"/>
            <a:r>
              <a:rPr lang="en-US" sz="1800" dirty="0"/>
              <a:t>Use the following plug-in and check it’s documentation how to set it up and add the necessary links to your README.md </a:t>
            </a:r>
            <a:r>
              <a:rPr lang="en-US" sz="1800" dirty="0">
                <a:hlinkClick r:id="rId5"/>
              </a:rPr>
              <a:t>https://github.com/jenkinsci/embeddable-build-status-plugin</a:t>
            </a:r>
            <a:endParaRPr lang="en-US" sz="2000" dirty="0"/>
          </a:p>
          <a:p>
            <a:pPr lvl="1"/>
            <a:r>
              <a:rPr lang="en-US" sz="1800" dirty="0"/>
              <a:t>Allow anonymous users read access at Jenkins.</a:t>
            </a:r>
          </a:p>
        </p:txBody>
      </p:sp>
    </p:spTree>
    <p:extLst>
      <p:ext uri="{BB962C8B-B14F-4D97-AF65-F5344CB8AC3E}">
        <p14:creationId xmlns:p14="http://schemas.microsoft.com/office/powerpoint/2010/main" val="14601824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866411F-C0F7-44B3-A49E-D5FCF61B46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95288" y="1140620"/>
            <a:ext cx="8441928" cy="2973387"/>
          </a:xfrm>
        </p:spPr>
        <p:txBody>
          <a:bodyPr>
            <a:noAutofit/>
          </a:bodyPr>
          <a:lstStyle/>
          <a:p>
            <a:r>
              <a:rPr lang="en-US" sz="1600" b="1" dirty="0"/>
              <a:t>Purpose</a:t>
            </a:r>
            <a:r>
              <a:rPr lang="en-US" sz="1600" dirty="0"/>
              <a:t>: install and set-up the necessary tools</a:t>
            </a:r>
          </a:p>
          <a:p>
            <a:r>
              <a:rPr lang="en-US" sz="1600" b="1" dirty="0"/>
              <a:t>Points</a:t>
            </a:r>
            <a:r>
              <a:rPr lang="en-US" sz="1600" dirty="0"/>
              <a:t>: 1 / 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BDEEDA-9702-4A47-ABDF-2A32DA236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 anchor="t">
            <a:normAutofit/>
          </a:bodyPr>
          <a:lstStyle/>
          <a:p>
            <a:r>
              <a:rPr lang="en-US" dirty="0"/>
              <a:t>1st Part: System Administration Ops (</a:t>
            </a:r>
            <a:r>
              <a:rPr lang="en-US" dirty="0" err="1"/>
              <a:t>SysOps</a:t>
            </a:r>
            <a:r>
              <a:rPr lang="en-US" dirty="0"/>
              <a:t>)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61CCA08A-6E16-4ACC-AE3E-79ED3816AF4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E77A18-A420-4DD3-8D9E-3392796E26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 dirty="0"/>
              <a:t>© Continental AG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B2E3E8F-D350-484A-B4EB-5F35D01DDB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dirty="0" smtClean="0"/>
              <a:pPr>
                <a:spcAft>
                  <a:spcPts val="600"/>
                </a:spcAft>
              </a:pPr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153166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68EB683-4C4A-436B-BB43-828DD13EC4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87" y="788390"/>
            <a:ext cx="8430001" cy="3781203"/>
          </a:xfrm>
        </p:spPr>
        <p:txBody>
          <a:bodyPr>
            <a:normAutofit lnSpcReduction="10000"/>
          </a:bodyPr>
          <a:lstStyle/>
          <a:p>
            <a:r>
              <a:rPr lang="en-US" sz="1400" dirty="0"/>
              <a:t>Python 3.x installed</a:t>
            </a:r>
          </a:p>
          <a:p>
            <a:pPr lvl="1"/>
            <a:r>
              <a:rPr lang="en-US" sz="1400" dirty="0">
                <a:hlinkClick r:id="rId3"/>
              </a:rPr>
              <a:t>https://www.python.org/downloads/</a:t>
            </a:r>
            <a:r>
              <a:rPr lang="en-US" sz="1400" dirty="0"/>
              <a:t> </a:t>
            </a:r>
          </a:p>
          <a:p>
            <a:r>
              <a:rPr lang="en-US" sz="1400" dirty="0"/>
              <a:t> Git installed</a:t>
            </a:r>
          </a:p>
          <a:p>
            <a:pPr lvl="1"/>
            <a:r>
              <a:rPr lang="en-US" sz="1400" dirty="0">
                <a:hlinkClick r:id="rId4"/>
              </a:rPr>
              <a:t>https://git-scm.com/downloads</a:t>
            </a:r>
            <a:endParaRPr lang="en-US" sz="1400" dirty="0"/>
          </a:p>
          <a:p>
            <a:r>
              <a:rPr lang="en-US" sz="1400" dirty="0" err="1"/>
              <a:t>Gitea</a:t>
            </a:r>
            <a:r>
              <a:rPr lang="en-US" sz="1400" dirty="0"/>
              <a:t>: </a:t>
            </a:r>
            <a:r>
              <a:rPr lang="en-US" sz="1400" dirty="0">
                <a:hlinkClick r:id="rId5"/>
              </a:rPr>
              <a:t>https://github.com/go-gitea/gitea/</a:t>
            </a:r>
            <a:endParaRPr lang="en-US" sz="1400" dirty="0"/>
          </a:p>
          <a:p>
            <a:pPr lvl="1"/>
            <a:r>
              <a:rPr lang="en-US" sz="1400" dirty="0"/>
              <a:t>Windows: </a:t>
            </a:r>
            <a:r>
              <a:rPr lang="en-US" sz="1400" dirty="0">
                <a:hlinkClick r:id="rId6"/>
              </a:rPr>
              <a:t>https://github.com/go-gitea/gitea/releases/download/v1.9.4/gitea-1.9.4-windows-4.0-386.exe</a:t>
            </a:r>
            <a:endParaRPr lang="en-US" sz="1400" dirty="0"/>
          </a:p>
          <a:p>
            <a:pPr lvl="1"/>
            <a:r>
              <a:rPr lang="en-US" sz="1400" dirty="0"/>
              <a:t>Linux: </a:t>
            </a:r>
            <a:r>
              <a:rPr lang="en-US" sz="1400" dirty="0">
                <a:hlinkClick r:id="rId7"/>
              </a:rPr>
              <a:t>https://github.com/go-gitea/gitea/releases/download/v1.9.4/gitea-1.9.4-linux-386</a:t>
            </a:r>
            <a:endParaRPr lang="en-US" sz="1400" dirty="0"/>
          </a:p>
          <a:p>
            <a:r>
              <a:rPr lang="en-US" sz="1400" dirty="0"/>
              <a:t>XAMPP: </a:t>
            </a:r>
            <a:r>
              <a:rPr lang="en-US" sz="1400" dirty="0">
                <a:hlinkClick r:id="rId8"/>
              </a:rPr>
              <a:t>https://www.apachefriends.org/</a:t>
            </a:r>
            <a:endParaRPr lang="en-US" sz="1400" dirty="0"/>
          </a:p>
          <a:p>
            <a:pPr lvl="1"/>
            <a:r>
              <a:rPr lang="en-US" sz="1400" dirty="0"/>
              <a:t>Windows: </a:t>
            </a:r>
            <a:r>
              <a:rPr lang="en-US" sz="1400" dirty="0">
                <a:hlinkClick r:id="rId9"/>
              </a:rPr>
              <a:t>https://www.apachefriends.org/xampp-files/7.3.10/xampp-windows-x64-7.3.10-0-VC15-installer.exe</a:t>
            </a:r>
            <a:endParaRPr lang="en-US" sz="1400" dirty="0"/>
          </a:p>
          <a:p>
            <a:pPr lvl="1"/>
            <a:r>
              <a:rPr lang="en-US" sz="1400" dirty="0"/>
              <a:t>Linux: </a:t>
            </a:r>
            <a:r>
              <a:rPr lang="en-US" sz="1400" dirty="0">
                <a:hlinkClick r:id="rId10"/>
              </a:rPr>
              <a:t>https://www.apachefriends.org/xampp-files/7.3.10/xampp-linux-x64-7.3.10-0-installer.run</a:t>
            </a:r>
            <a:endParaRPr lang="en-US" sz="1400" dirty="0"/>
          </a:p>
          <a:p>
            <a:r>
              <a:rPr lang="en-US" sz="1400" dirty="0"/>
              <a:t>Jenkins: </a:t>
            </a:r>
            <a:r>
              <a:rPr lang="en-US" sz="1400" dirty="0">
                <a:hlinkClick r:id="rId11"/>
              </a:rPr>
              <a:t>https://jenkins.io/</a:t>
            </a:r>
            <a:endParaRPr lang="en-US" sz="1400" dirty="0"/>
          </a:p>
          <a:p>
            <a:pPr lvl="1"/>
            <a:r>
              <a:rPr lang="en-US" sz="1400" dirty="0"/>
              <a:t>Windows: </a:t>
            </a:r>
            <a:r>
              <a:rPr lang="en-US" sz="1400" dirty="0">
                <a:hlinkClick r:id="rId12"/>
              </a:rPr>
              <a:t>https://jenkins.io/download/thank-you-downloading-windows-installer-stable</a:t>
            </a:r>
            <a:endParaRPr lang="en-US" sz="1400" dirty="0"/>
          </a:p>
          <a:p>
            <a:pPr lvl="1"/>
            <a:r>
              <a:rPr lang="en-US" sz="1400" dirty="0"/>
              <a:t>Linux: </a:t>
            </a:r>
            <a:r>
              <a:rPr lang="en-US" sz="1400" dirty="0">
                <a:hlinkClick r:id="rId13"/>
              </a:rPr>
              <a:t>https://pkg.jenkins.io/debian-stable</a:t>
            </a:r>
            <a:r>
              <a:rPr lang="en-US" sz="1400" dirty="0"/>
              <a:t> </a:t>
            </a:r>
          </a:p>
          <a:p>
            <a:pPr lvl="1"/>
            <a:endParaRPr lang="en-US" sz="1400" dirty="0"/>
          </a:p>
          <a:p>
            <a:pPr lvl="1"/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050ED1-F08F-4FAA-A963-B89417C2C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577" y="284623"/>
            <a:ext cx="8429411" cy="456119"/>
          </a:xfrm>
        </p:spPr>
        <p:txBody>
          <a:bodyPr anchor="t">
            <a:normAutofit/>
          </a:bodyPr>
          <a:lstStyle/>
          <a:p>
            <a:r>
              <a:rPr lang="en-US" dirty="0"/>
              <a:t>Resources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8AC2E0F4-1DA7-4B27-97DD-4790CEAA0C9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C0166AF-D947-4044-BA0A-D83C1A0702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140B711-9585-4F5B-BB66-CE9DA4EB2BA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6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55662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F376112-8C99-446B-A71E-6C1B89DBA1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8578" y="908033"/>
            <a:ext cx="8428638" cy="3205974"/>
          </a:xfrm>
        </p:spPr>
        <p:txBody>
          <a:bodyPr>
            <a:noAutofit/>
          </a:bodyPr>
          <a:lstStyle/>
          <a:p>
            <a:r>
              <a:rPr lang="en-US" sz="1600" dirty="0"/>
              <a:t>Create the following directory structure either in your main Drive on Windows or in your user home space on Linux</a:t>
            </a:r>
          </a:p>
          <a:p>
            <a:pPr lvl="6"/>
            <a:r>
              <a:rPr lang="en-US" sz="1600" dirty="0"/>
              <a:t>D:\cd-seminary</a:t>
            </a:r>
          </a:p>
          <a:p>
            <a:pPr lvl="6"/>
            <a:r>
              <a:rPr lang="en-US" sz="1600" dirty="0"/>
              <a:t>├───code</a:t>
            </a:r>
          </a:p>
          <a:p>
            <a:pPr lvl="6"/>
            <a:r>
              <a:rPr lang="en-US" sz="1600" dirty="0"/>
              <a:t>└───infra</a:t>
            </a:r>
          </a:p>
          <a:p>
            <a:pPr lvl="6"/>
            <a:r>
              <a:rPr lang="en-US" sz="1600" dirty="0"/>
              <a:t>    ├───</a:t>
            </a:r>
            <a:r>
              <a:rPr lang="en-US" sz="1600" dirty="0" err="1"/>
              <a:t>gitea</a:t>
            </a:r>
            <a:endParaRPr lang="en-US" sz="1600" dirty="0"/>
          </a:p>
          <a:p>
            <a:pPr lvl="6"/>
            <a:r>
              <a:rPr lang="en-US" sz="1600" dirty="0"/>
              <a:t>    ├───</a:t>
            </a:r>
            <a:r>
              <a:rPr lang="en-US" sz="1600" dirty="0" err="1"/>
              <a:t>jenkins</a:t>
            </a:r>
            <a:endParaRPr lang="en-US" sz="1600" dirty="0"/>
          </a:p>
          <a:p>
            <a:pPr lvl="6"/>
            <a:r>
              <a:rPr lang="en-US" sz="1600" dirty="0"/>
              <a:t>    └───</a:t>
            </a:r>
            <a:r>
              <a:rPr lang="en-US" sz="1600" dirty="0" err="1"/>
              <a:t>xampp</a:t>
            </a: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818648-4931-48D0-801D-8CEC2C78C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 anchor="t">
            <a:normAutofit/>
          </a:bodyPr>
          <a:lstStyle/>
          <a:p>
            <a:r>
              <a:rPr lang="en-US" dirty="0"/>
              <a:t>File System Layout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F54117B9-D74D-44F6-9A05-2F6C843485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273800" y="4816800"/>
            <a:ext cx="729000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232089F0-E0FE-42C6-8BAA-46121439B89A}" type="datetime3">
              <a:rPr lang="en-US" smtClean="0"/>
              <a:pPr>
                <a:spcAft>
                  <a:spcPts val="600"/>
                </a:spcAft>
              </a:pPr>
              <a:t>26 April 2023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EF33E6D-2A06-44C0-B380-AD9627E558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627000" y="4816800"/>
            <a:ext cx="1890000" cy="11283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© Continental AG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2B8581D-1F23-4632-851B-E04C249595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60433" y="4816800"/>
            <a:ext cx="377558" cy="11283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7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6896273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374993-A95E-4E4D-8F9A-A14E68E7E04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95287" y="1140593"/>
            <a:ext cx="8209161" cy="633296"/>
          </a:xfrm>
        </p:spPr>
        <p:txBody>
          <a:bodyPr/>
          <a:lstStyle/>
          <a:p>
            <a:r>
              <a:rPr lang="en-US" sz="1400" dirty="0">
                <a:solidFill>
                  <a:srgbClr val="FF2D37"/>
                </a:solidFill>
              </a:rPr>
              <a:t>Please follow the same steps to avoid issues!</a:t>
            </a:r>
            <a:br>
              <a:rPr lang="en-US" sz="1400" dirty="0">
                <a:solidFill>
                  <a:srgbClr val="FF2D37"/>
                </a:solidFill>
              </a:rPr>
            </a:br>
            <a:r>
              <a:rPr lang="en-US" sz="1400" dirty="0">
                <a:solidFill>
                  <a:srgbClr val="FF2D37"/>
                </a:solidFill>
              </a:rPr>
              <a:t>Install only selected applications like in the print screen!</a:t>
            </a:r>
            <a:endParaRPr lang="en-US" dirty="0">
              <a:solidFill>
                <a:srgbClr val="FF2D37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5ED312-0D02-425F-A05D-9C76DA8BB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5" y="284623"/>
            <a:ext cx="8442703" cy="701996"/>
          </a:xfrm>
          <a:solidFill>
            <a:srgbClr val="FFFFFF"/>
          </a:solidFill>
          <a:ln/>
        </p:spPr>
        <p:txBody>
          <a:bodyPr lIns="0" tIns="25200" rIns="91440" bIns="0" anchor="t"/>
          <a:lstStyle/>
          <a:p>
            <a:r>
              <a:rPr lang="en-US" dirty="0">
                <a:solidFill>
                  <a:srgbClr val="FFA500"/>
                </a:solidFill>
                <a:latin typeface="Arial" panose="020B0604020202020204" pitchFamily="34" charset="0"/>
              </a:rPr>
              <a:t>XAMPP Install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A03CC-8968-4D3C-B2FE-67426E3DB63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E66CAA7-1EDE-42BE-8496-E47CEC56B429}" type="datetime3">
              <a:rPr lang="en-US" noProof="0" smtClean="0"/>
              <a:t>26 April 202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88B791-7A97-4194-8E76-9E06385AF0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36EE44-2845-478F-A113-D163151DEF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EB4B72-0D22-4545-A5DA-5C07C7D2D1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6" y="1880406"/>
            <a:ext cx="2001935" cy="16994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AF0BDAD-8CFA-45F8-A8BD-65D899684F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4602" y="1851670"/>
            <a:ext cx="2030243" cy="17244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D25647-7166-486C-9382-40FE91833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4846" y="1849605"/>
            <a:ext cx="2137274" cy="18022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96CF64-9022-4BCF-AD4D-5411B68898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2120" y="1874633"/>
            <a:ext cx="2104955" cy="1777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14195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9D53E8-EED6-45C9-A0D9-87F93495102A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07987" y="921296"/>
            <a:ext cx="8430001" cy="3429000"/>
          </a:xfrm>
        </p:spPr>
        <p:txBody>
          <a:bodyPr>
            <a:noAutofit/>
          </a:bodyPr>
          <a:lstStyle>
            <a:lvl1pPr marL="135731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1pPr>
            <a:lvl2pPr marL="27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2pPr>
            <a:lvl3pPr marL="405000" indent="-135000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3pPr>
            <a:lvl4pPr marL="540000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4pPr>
            <a:lvl5pPr marL="673894" indent="-135731" algn="l" defTabSz="914378" rtl="0" eaLnBrk="1" latinLnBrk="0" hangingPunct="1">
              <a:buClr>
                <a:schemeClr val="accent1"/>
              </a:buClr>
              <a:buSzPct val="125000"/>
              <a:buFont typeface="Arial" pitchFamily="34" charset="0"/>
              <a:buChar char="›"/>
            </a:lvl5pPr>
            <a:lvl6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6pPr>
            <a:lvl7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7pPr>
            <a:lvl8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8pPr>
            <a:lvl9pPr marL="675000" indent="-135000" algn="l" defTabSz="914378" rtl="0" eaLnBrk="1" latinLnBrk="0" hangingPunct="1"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</a:lvl9pPr>
          </a:lstStyle>
          <a:p>
            <a:r>
              <a:rPr lang="en-US" sz="1600" dirty="0"/>
              <a:t>Start the Apache Web Server &amp; MySQL Database</a:t>
            </a:r>
          </a:p>
          <a:p>
            <a:r>
              <a:rPr lang="en-US" sz="1600" dirty="0"/>
              <a:t>Now access MySQL via the phpMyAdmin interface</a:t>
            </a:r>
          </a:p>
          <a:p>
            <a:r>
              <a:rPr lang="en-US" sz="1600" dirty="0"/>
              <a:t>A new tab into your default browser should be open on </a:t>
            </a:r>
            <a:r>
              <a:rPr lang="en-US" sz="1600" dirty="0">
                <a:hlinkClick r:id="rId4"/>
              </a:rPr>
              <a:t>http://localhost/phpmyadmin/</a:t>
            </a: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E71C23-0667-491A-A1BD-0044E329E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84623"/>
            <a:ext cx="8430001" cy="701996"/>
          </a:xfrm>
        </p:spPr>
        <p:txBody>
          <a:bodyPr/>
          <a:lstStyle/>
          <a:p>
            <a:r>
              <a:rPr lang="en-US" dirty="0"/>
              <a:t>XAMPP Bring-up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A7FC7C27-0A5D-409E-A10D-6C6952DB71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2089F0-E0FE-42C6-8BAA-46121439B89A}" type="datetime3">
              <a:rPr lang="en-US" smtClean="0"/>
              <a:pPr/>
              <a:t>26 April 2023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C527742-7875-4F56-A817-07A09ED9A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© Continental AG</a:t>
            </a:r>
            <a:endParaRPr lang="en-US" noProof="0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B262E3DA-71A2-43AF-B6D8-E0FD912F80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A48181-2C78-49CB-8C52-912A07842C2E}" type="slidenum">
              <a:rPr lang="en-US" noProof="0" dirty="0" smtClean="0"/>
              <a:pPr/>
              <a:t>9</a:t>
            </a:fld>
            <a:endParaRPr 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BC0E86-076E-4E9A-8323-7F3FC80A08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436" y="1955976"/>
            <a:ext cx="3913946" cy="25370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670C39-5478-49BA-8B70-4C9BA9650E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9857" y="2428608"/>
            <a:ext cx="4149656" cy="159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50352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OkjPfAqylGoP3SF97QPzsFAAAAAAADAAAAAwADAAAAAQADAAEA////////BAAAAAMAEAALpms5C2T3UUOVKaGVJPpHc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MOkjPfAqylGoP3SF97QPzsDRGF0YQAbAAAABExpbmtlZFNoYXBlRGF0YQAFAAAAAAACTmFtZQAZAAAATGlua2VkU2hhcGVzRGF0YVByb3BlcnR5ABBWZXJzaW9uAAAAAAAJTGFzdFdyaXRlAPA4giF/AQAAAAEA/////50AnQAAAAVfaWQAEAAAAASmazkLZPdRQ5UpoZUk+kdxA0RhdGEAKgAAAAhQcmVzZW50YXRpb25TY2FubmVkRm9yTGlua2VkU2hhcGVzAAEAAk5hbWUAJAAAAExpbmtlZFNoYXBlUHJlc2VudGF0aW9uU2V0dGluZ3NEYXRhABBWZXJzaW9uAAAAAAAJTGFzdFdyaXRlABc5giF/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24"/>
  <p:tag name="MIO_HDS" val="True"/>
  <p:tag name="MIO_SKIPVERSION" val="01.01.0001 00:00:00"/>
  <p:tag name="MIO_EKGUID" val="e3e9ceb7-7c78-4334-8bc0-c31cd70564f0"/>
  <p:tag name="MIO_UPDATE" val="True"/>
  <p:tag name="MIO_VERSION" val="05.07.2021 09:16:06"/>
  <p:tag name="MIO_DBID" val="28AD0E67-88F4-4826-B6CB-8EA6DE4EF11B"/>
  <p:tag name="MIO_LASTDOWNLOADED" val="09.03.2022 15:35:47.211"/>
  <p:tag name="MIO_OBJECTNAME" val="Automotive 16x9"/>
  <p:tag name="MIO_CDID" val="d446ddb0-4ccd-4ae3-96db-87dda6130c4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56edb3a-6130-4b13-9ad8-3ac8f7523862"/>
  <p:tag name="MIO_GUID" val="118c2d17-a9b9-4fb4-a250-f863a82cf094"/>
  <p:tag name="MIO_UPDATE" val="True"/>
  <p:tag name="MIO_VERSION" val="07.01.2022 10:06:32"/>
  <p:tag name="MIO_DBID" val="28AD0E67-88F4-4826-B6CB-8EA6DE4EF11B"/>
  <p:tag name="MIO_LASTDOWNLOADED" val="09.03.2022 15:36:34.843"/>
  <p:tag name="MIO_OBJECTNAME" val="User Experience (UX) Key Visual"/>
  <p:tag name="MIO_LASTEDITORNAME" val="Mark Hog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176DB72CCAF64BB27DF80359C929B8" ma:contentTypeVersion="15" ma:contentTypeDescription="Create a new document." ma:contentTypeScope="" ma:versionID="9e7ac4f25b04b53668f5bf27b472b7c8">
  <xsd:schema xmlns:xsd="http://www.w3.org/2001/XMLSchema" xmlns:xs="http://www.w3.org/2001/XMLSchema" xmlns:p="http://schemas.microsoft.com/office/2006/metadata/properties" xmlns:ns2="b69f4fd6-22a5-45ca-9115-1cd0f109af42" xmlns:ns3="96d7e722-7dfd-4ee7-9755-98ea4f77d824" targetNamespace="http://schemas.microsoft.com/office/2006/metadata/properties" ma:root="true" ma:fieldsID="9384b25566bf185b8ab98214502aa51f" ns2:_="" ns3:_="">
    <xsd:import namespace="b69f4fd6-22a5-45ca-9115-1cd0f109af42"/>
    <xsd:import namespace="96d7e722-7dfd-4ee7-9755-98ea4f77d8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9f4fd6-22a5-45ca-9115-1cd0f109af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eda2b84-7b9c-4109-bb73-211c9f848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d7e722-7dfd-4ee7-9755-98ea4f77d82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37819ee-bfbf-4f60-9142-052eecee3625}" ma:internalName="TaxCatchAll" ma:showField="CatchAllData" ma:web="96d7e722-7dfd-4ee7-9755-98ea4f77d8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6d7e722-7dfd-4ee7-9755-98ea4f77d824" xsi:nil="true"/>
    <lcf76f155ced4ddcb4097134ff3c332f xmlns="b69f4fd6-22a5-45ca-9115-1cd0f109af42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13D4D30-A936-4ABA-90BD-B8DC002437FB}"/>
</file>

<file path=customXml/itemProps2.xml><?xml version="1.0" encoding="utf-8"?>
<ds:datastoreItem xmlns:ds="http://schemas.openxmlformats.org/officeDocument/2006/customXml" ds:itemID="{C78D4005-CBE8-4E34-9AAB-4C0C8CF4D9B8}">
  <ds:schemaRefs>
    <ds:schemaRef ds:uri="http://purl.org/dc/terms/"/>
    <ds:schemaRef ds:uri="034308f4-7767-4c7d-892e-195c3b0e1aa6"/>
    <ds:schemaRef ds:uri="http://schemas.microsoft.com/office/2006/documentManagement/types"/>
    <ds:schemaRef ds:uri="34c1a619-e2c2-4805-9a66-3441541a4c8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64551EA-5B38-4FC6-9ED3-3CDD9F1E5FA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d4b558f-7b2e-40ba-ad1f-e04d79e6265a}" enabled="0" method="" siteId="{8d4b558f-7b2e-40ba-ad1f-e04d79e6265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735</Words>
  <Application>Microsoft Office PowerPoint</Application>
  <PresentationFormat>On-screen Show (16:9)</PresentationFormat>
  <Paragraphs>327</Paragraphs>
  <Slides>41</Slides>
  <Notes>4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4" baseType="lpstr">
      <vt:lpstr>Arial</vt:lpstr>
      <vt:lpstr>Calibri</vt:lpstr>
      <vt:lpstr>Continental AG 2021, 16x9</vt:lpstr>
      <vt:lpstr>Continuous Integration / Continuous Testing</vt:lpstr>
      <vt:lpstr>Concept</vt:lpstr>
      <vt:lpstr>Arch – Infrastructure</vt:lpstr>
      <vt:lpstr>Arch – Infra – Toolchain</vt:lpstr>
      <vt:lpstr>1st Part: System Administration Ops (SysOps)</vt:lpstr>
      <vt:lpstr>Resources</vt:lpstr>
      <vt:lpstr>File System Layout</vt:lpstr>
      <vt:lpstr>XAMPP Installation</vt:lpstr>
      <vt:lpstr>XAMPP Bring-up</vt:lpstr>
      <vt:lpstr>MySQL set-up</vt:lpstr>
      <vt:lpstr> username: gitea | password: gitea</vt:lpstr>
      <vt:lpstr>Gitea Bring-up</vt:lpstr>
      <vt:lpstr>PowerPoint Presentation</vt:lpstr>
      <vt:lpstr>PowerPoint Presentation</vt:lpstr>
      <vt:lpstr>PowerPoint Presentation</vt:lpstr>
      <vt:lpstr>Jenkins Bring-up</vt:lpstr>
      <vt:lpstr>PowerPoint Presentation</vt:lpstr>
      <vt:lpstr>PowerPoint Presentation</vt:lpstr>
      <vt:lpstr>2nd Part: Infrastructure Ops (InfraOps)</vt:lpstr>
      <vt:lpstr>Install Gitea Jenkins plug-in</vt:lpstr>
      <vt:lpstr>Perform a Jenkins Safe Restart</vt:lpstr>
      <vt:lpstr>Add Gitea server in Jenkins global scope </vt:lpstr>
      <vt:lpstr>Set-up the Gitea to Jenkins webhook</vt:lpstr>
      <vt:lpstr>PowerPoint Presentation</vt:lpstr>
      <vt:lpstr>3rd Part: Platform Ops</vt:lpstr>
      <vt:lpstr>Create the Gitea organization folder using the plugin</vt:lpstr>
      <vt:lpstr>PowerPoint Presentation</vt:lpstr>
      <vt:lpstr>PowerPoint Presentation</vt:lpstr>
      <vt:lpstr>PowerPoint Presentation</vt:lpstr>
      <vt:lpstr>PowerPoint Presentation</vt:lpstr>
      <vt:lpstr>4th Part: Site Reliability Engineering Ops (SREOps)</vt:lpstr>
      <vt:lpstr>Create a new Gitea organization</vt:lpstr>
      <vt:lpstr>Create your project Git repository</vt:lpstr>
      <vt:lpstr>PowerPoint Presentation</vt:lpstr>
      <vt:lpstr>How to commit a new file(s)</vt:lpstr>
      <vt:lpstr>How to edit a committed file</vt:lpstr>
      <vt:lpstr>Initial Jenkinsfile</vt:lpstr>
      <vt:lpstr>Add your project source code</vt:lpstr>
      <vt:lpstr>Jenkinsfile code </vt:lpstr>
      <vt:lpstr>Fix the code style and make the pipeline succeed</vt:lpstr>
      <vt:lpstr>Exercise: Add a build badge to README.md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05 Continuous Integration and Testing</dc:title>
  <dc:subject>Continuous Integration and Testing</dc:subject>
  <dc:creator>UX Iasi</dc:creator>
  <cp:lastModifiedBy>Baciu Lupascu, Raluca</cp:lastModifiedBy>
  <cp:revision>205</cp:revision>
  <dcterms:created xsi:type="dcterms:W3CDTF">2018-02-15T15:15:31Z</dcterms:created>
  <dcterms:modified xsi:type="dcterms:W3CDTF">2023-04-26T10:5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176DB72CCAF64BB27DF80359C929B8</vt:lpwstr>
  </property>
  <property fmtid="{D5CDD505-2E9C-101B-9397-08002B2CF9AE}" pid="3" name="MSIP_Label_6006a9c5-d130-408c-bc8e-3b5ecdb17aa0_Enabled">
    <vt:lpwstr>true</vt:lpwstr>
  </property>
  <property fmtid="{D5CDD505-2E9C-101B-9397-08002B2CF9AE}" pid="4" name="MSIP_Label_6006a9c5-d130-408c-bc8e-3b5ecdb17aa0_SetDate">
    <vt:lpwstr>2022-03-17T14:08:43Z</vt:lpwstr>
  </property>
  <property fmtid="{D5CDD505-2E9C-101B-9397-08002B2CF9AE}" pid="5" name="MSIP_Label_6006a9c5-d130-408c-bc8e-3b5ecdb17aa0_Method">
    <vt:lpwstr>Standard</vt:lpwstr>
  </property>
  <property fmtid="{D5CDD505-2E9C-101B-9397-08002B2CF9AE}" pid="6" name="MSIP_Label_6006a9c5-d130-408c-bc8e-3b5ecdb17aa0_Name">
    <vt:lpwstr>Recipients Have Full Control​</vt:lpwstr>
  </property>
  <property fmtid="{D5CDD505-2E9C-101B-9397-08002B2CF9AE}" pid="7" name="MSIP_Label_6006a9c5-d130-408c-bc8e-3b5ecdb17aa0_SiteId">
    <vt:lpwstr>8d4b558f-7b2e-40ba-ad1f-e04d79e6265a</vt:lpwstr>
  </property>
  <property fmtid="{D5CDD505-2E9C-101B-9397-08002B2CF9AE}" pid="8" name="MSIP_Label_6006a9c5-d130-408c-bc8e-3b5ecdb17aa0_ActionId">
    <vt:lpwstr>5e04fc1a-25c0-48df-b9a2-5cccbb92b7d4</vt:lpwstr>
  </property>
  <property fmtid="{D5CDD505-2E9C-101B-9397-08002B2CF9AE}" pid="9" name="MSIP_Label_6006a9c5-d130-408c-bc8e-3b5ecdb17aa0_ContentBits">
    <vt:lpwstr>2</vt:lpwstr>
  </property>
  <property fmtid="{D5CDD505-2E9C-101B-9397-08002B2CF9AE}" pid="10" name="MediaServiceImageTags">
    <vt:lpwstr/>
  </property>
</Properties>
</file>